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tags/tag104.xml" ContentType="application/vnd.openxmlformats-officedocument.presentationml.tags+xml"/>
  <Override PartName="/ppt/notesSlides/notesSlide2.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diagrams/layout9.xml" ContentType="application/vnd.openxmlformats-officedocument.drawingml.diagram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tags/tag30.xml" ContentType="application/vnd.openxmlformats-officedocument.presentationml.tags+xml"/>
  <Override PartName="/ppt/tags/tag134.xml" ContentType="application/vnd.openxmlformats-officedocument.presentationml.tags+xml"/>
  <Override PartName="/ppt/diagrams/colors4.xml" ContentType="application/vnd.openxmlformats-officedocument.drawingml.diagramColors+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diagrams/drawing3.xml" ContentType="application/vnd.ms-office.drawingml.diagramDrawing+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diagrams/quickStyle3.xml" ContentType="application/vnd.openxmlformats-officedocument.drawingml.diagramStyl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diagrams/layout6.xml" ContentType="application/vnd.openxmlformats-officedocument.drawingml.diagramLayout+xml"/>
  <Override PartName="/ppt/diagrams/data10.xml" ContentType="application/vnd.openxmlformats-officedocument.drawingml.diagramData+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comments/comment1.xml" ContentType="application/vnd.openxmlformats-officedocument.presentationml.comments+xml"/>
  <Override PartName="/ppt/diagrams/layout2.xml" ContentType="application/vnd.openxmlformats-officedocument.drawingml.diagramLayout+xml"/>
  <Override PartName="/ppt/diagrams/drawing8.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113.xml" ContentType="application/vnd.openxmlformats-officedocument.presentationml.tags+xml"/>
  <Override PartName="/ppt/tags/tag131.xml" ContentType="application/vnd.openxmlformats-officedocument.presentationml.tags+xml"/>
  <Override PartName="/ppt/diagrams/quickStyle4.xml" ContentType="application/vnd.openxmlformats-officedocument.drawingml.diagramStyle+xml"/>
  <Override PartName="/ppt/diagrams/layout10.xml" ContentType="application/vnd.openxmlformats-officedocument.drawingml.diagram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wmf" ContentType="image/x-wmf"/>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diagrams/drawing9.xml" ContentType="application/vnd.ms-office.drawingml.diagramDrawing+xml"/>
  <Override PartName="/ppt/comments/comment2.xml" ContentType="application/vnd.openxmlformats-officedocument.presentationml.comment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diagrams/drawing5.xml" ContentType="application/vnd.ms-office.drawingml.diagramDrawing+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03.xml" ContentType="application/vnd.openxmlformats-officedocument.presentationml.tags+xml"/>
  <Override PartName="/ppt/tags/tag132.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diagrams/colors10.xml" ContentType="application/vnd.openxmlformats-officedocument.drawingml.diagramColors+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tags/tag77.xml" ContentType="application/vnd.openxmlformats-officedocument.presentationml.tags+xml"/>
  <Override PartName="/ppt/tags/tag88.xml" ContentType="application/vnd.openxmlformats-officedocument.presentationml.tags+xml"/>
  <Override PartName="/ppt/diagrams/layout8.xml" ContentType="application/vnd.openxmlformats-officedocument.drawingml.diagramLayout+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diagrams/data9.xml" ContentType="application/vnd.openxmlformats-officedocument.drawingml.diagramData+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diagrams/drawing6.xml" ContentType="application/vnd.ms-office.drawingml.diagramDrawing+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tags/tag115.xml" ContentType="application/vnd.openxmlformats-officedocument.presentationml.tags+xml"/>
  <Override PartName="/ppt/tags/tag133.xml" ContentType="application/vnd.openxmlformats-officedocument.presentationml.tags+xml"/>
  <Override PartName="/ppt/diagrams/colors3.xml" ContentType="application/vnd.openxmlformats-officedocument.drawingml.diagramColors+xml"/>
  <Override PartName="/ppt/diagrams/quickStyle6.xml" ContentType="application/vnd.openxmlformats-officedocument.drawingml.diagramStyle+xml"/>
  <Override PartName="/ppt/tags/tag122.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tags/tag81.xml" ContentType="application/vnd.openxmlformats-officedocument.presentationml.tags+xml"/>
  <Override PartName="/ppt/diagrams/colors8.xml" ContentType="application/vnd.openxmlformats-officedocument.drawingml.diagramColor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diagrams/drawing7.xml" ContentType="application/vnd.ms-office.drawingml.diagramDrawing+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diagrams/quickStyle7.xml" ContentType="application/vnd.openxmlformats-officedocument.drawingml.diagramStyle+xml"/>
  <Default Extension="bin" ContentType="application/vnd.openxmlformats-officedocument.oleObject"/>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31"/>
  </p:notesMasterIdLst>
  <p:handoutMasterIdLst>
    <p:handoutMasterId r:id="rId32"/>
  </p:handoutMasterIdLst>
  <p:sldIdLst>
    <p:sldId id="311" r:id="rId4"/>
    <p:sldId id="353" r:id="rId5"/>
    <p:sldId id="366" r:id="rId6"/>
    <p:sldId id="369" r:id="rId7"/>
    <p:sldId id="379" r:id="rId8"/>
    <p:sldId id="375" r:id="rId9"/>
    <p:sldId id="342" r:id="rId10"/>
    <p:sldId id="344" r:id="rId11"/>
    <p:sldId id="355" r:id="rId12"/>
    <p:sldId id="356" r:id="rId13"/>
    <p:sldId id="372" r:id="rId14"/>
    <p:sldId id="373" r:id="rId15"/>
    <p:sldId id="374" r:id="rId16"/>
    <p:sldId id="360" r:id="rId17"/>
    <p:sldId id="361" r:id="rId18"/>
    <p:sldId id="362" r:id="rId19"/>
    <p:sldId id="363" r:id="rId20"/>
    <p:sldId id="364" r:id="rId21"/>
    <p:sldId id="370" r:id="rId22"/>
    <p:sldId id="341" r:id="rId23"/>
    <p:sldId id="376" r:id="rId24"/>
    <p:sldId id="377" r:id="rId25"/>
    <p:sldId id="378" r:id="rId26"/>
    <p:sldId id="335" r:id="rId27"/>
    <p:sldId id="367" r:id="rId28"/>
    <p:sldId id="368" r:id="rId29"/>
    <p:sldId id="329" r:id="rId30"/>
  </p:sldIdLst>
  <p:sldSz cx="9906000" cy="6858000" type="A4"/>
  <p:notesSz cx="6896100" cy="10033000"/>
  <p:custDataLst>
    <p:tags r:id="rId3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iyer" initials="DI" lastIdx="5" clrIdx="0"/>
  <p:cmAuthor id="1" name="rvangury" initials="r"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49" autoAdjust="0"/>
    <p:restoredTop sz="94621" autoAdjust="0"/>
  </p:normalViewPr>
  <p:slideViewPr>
    <p:cSldViewPr>
      <p:cViewPr varScale="1">
        <p:scale>
          <a:sx n="88" d="100"/>
          <a:sy n="88" d="100"/>
        </p:scale>
        <p:origin x="-1282" y="-82"/>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7-01-30T19:27:16.282" idx="4">
    <p:pos x="10" y="10"/>
    <p:text>What is the Isolated box on Re-engineering doing here ?
This slide should have only the Deleivery Models and Quality Measures only.
For Challenges another Slide is required which needs inputs from Ritesh</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7-01-30T19:25:36.084" idx="3">
    <p:pos x="10" y="10"/>
    <p:text>Font Sizes are not uniform</p:text>
  </p:cm>
</p:cmLst>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7CC218-182C-41DD-A447-AE820EC54AA6}" type="doc">
      <dgm:prSet loTypeId="urn:microsoft.com/office/officeart/2005/8/layout/pyramid1" loCatId="pyramid" qsTypeId="urn:microsoft.com/office/officeart/2005/8/quickstyle/3d2" qsCatId="3D" csTypeId="urn:microsoft.com/office/officeart/2005/8/colors/accent5_5" csCatId="accent5" phldr="1"/>
      <dgm:spPr/>
    </dgm:pt>
    <dgm:pt modelId="{2A9AAFCE-104F-4669-8B6B-B8C13737A689}">
      <dgm:prSet phldrT="[Text]"/>
      <dgm:spPr/>
      <dgm:t>
        <a:bodyPr/>
        <a:lstStyle/>
        <a:p>
          <a:r>
            <a:rPr lang="en-US" dirty="0" smtClean="0">
              <a:solidFill>
                <a:schemeClr val="bg1"/>
              </a:solidFill>
            </a:rPr>
            <a:t>HQ</a:t>
          </a:r>
          <a:endParaRPr lang="en-US" dirty="0">
            <a:solidFill>
              <a:schemeClr val="bg1"/>
            </a:solidFill>
          </a:endParaRPr>
        </a:p>
      </dgm:t>
    </dgm:pt>
    <dgm:pt modelId="{6787B4AD-B2B9-4B44-A76B-F61586AC8777}" type="parTrans" cxnId="{A425B72A-B6B8-41C5-AFCC-F8E0E4538633}">
      <dgm:prSet/>
      <dgm:spPr/>
      <dgm:t>
        <a:bodyPr/>
        <a:lstStyle/>
        <a:p>
          <a:endParaRPr lang="en-US"/>
        </a:p>
      </dgm:t>
    </dgm:pt>
    <dgm:pt modelId="{16024DCB-09D4-4323-A800-CC2CA5F2EFF8}" type="sibTrans" cxnId="{A425B72A-B6B8-41C5-AFCC-F8E0E4538633}">
      <dgm:prSet/>
      <dgm:spPr/>
      <dgm:t>
        <a:bodyPr/>
        <a:lstStyle/>
        <a:p>
          <a:endParaRPr lang="en-US"/>
        </a:p>
      </dgm:t>
    </dgm:pt>
    <dgm:pt modelId="{D02F9411-83F4-466C-AF4D-2ED31DD49604}">
      <dgm:prSet phldrT="[Text]"/>
      <dgm:spPr/>
      <dgm:t>
        <a:bodyPr/>
        <a:lstStyle/>
        <a:p>
          <a:r>
            <a:rPr lang="en-US" dirty="0" smtClean="0">
              <a:solidFill>
                <a:schemeClr val="bg1"/>
              </a:solidFill>
            </a:rPr>
            <a:t>MPC</a:t>
          </a:r>
          <a:endParaRPr lang="en-US" dirty="0">
            <a:solidFill>
              <a:schemeClr val="bg1"/>
            </a:solidFill>
          </a:endParaRPr>
        </a:p>
      </dgm:t>
    </dgm:pt>
    <dgm:pt modelId="{39D2F94F-F2A1-411F-BD8D-F6F85DB848F5}" type="parTrans" cxnId="{68221EEB-D51A-4C48-B81B-1C5E8689BB89}">
      <dgm:prSet/>
      <dgm:spPr/>
      <dgm:t>
        <a:bodyPr/>
        <a:lstStyle/>
        <a:p>
          <a:endParaRPr lang="en-US"/>
        </a:p>
      </dgm:t>
    </dgm:pt>
    <dgm:pt modelId="{2B19DA1E-D01E-4FE0-9C95-DEFBDA12D5AB}" type="sibTrans" cxnId="{68221EEB-D51A-4C48-B81B-1C5E8689BB89}">
      <dgm:prSet/>
      <dgm:spPr/>
      <dgm:t>
        <a:bodyPr/>
        <a:lstStyle/>
        <a:p>
          <a:endParaRPr lang="en-US"/>
        </a:p>
      </dgm:t>
    </dgm:pt>
    <dgm:pt modelId="{1F1FF70E-EF7C-4993-9A9E-FE2DE6DD2D7B}">
      <dgm:prSet phldrT="[Text]"/>
      <dgm:spPr/>
      <dgm:t>
        <a:bodyPr/>
        <a:lstStyle/>
        <a:p>
          <a:r>
            <a:rPr lang="en-US" dirty="0" smtClean="0">
              <a:solidFill>
                <a:schemeClr val="bg1"/>
              </a:solidFill>
            </a:rPr>
            <a:t>Dealer, Workshop</a:t>
          </a:r>
          <a:endParaRPr lang="en-US" dirty="0">
            <a:solidFill>
              <a:schemeClr val="bg1"/>
            </a:solidFill>
          </a:endParaRPr>
        </a:p>
      </dgm:t>
    </dgm:pt>
    <dgm:pt modelId="{FEB6EA11-F0A2-4E87-A788-F35515B42040}" type="parTrans" cxnId="{D8FDC252-3929-4B81-A757-A03187FF71F2}">
      <dgm:prSet/>
      <dgm:spPr/>
      <dgm:t>
        <a:bodyPr/>
        <a:lstStyle/>
        <a:p>
          <a:endParaRPr lang="en-US"/>
        </a:p>
      </dgm:t>
    </dgm:pt>
    <dgm:pt modelId="{5D5A8F58-3A13-4F1C-92A3-0594F6AAB312}" type="sibTrans" cxnId="{D8FDC252-3929-4B81-A757-A03187FF71F2}">
      <dgm:prSet/>
      <dgm:spPr/>
      <dgm:t>
        <a:bodyPr/>
        <a:lstStyle/>
        <a:p>
          <a:endParaRPr lang="en-US"/>
        </a:p>
      </dgm:t>
    </dgm:pt>
    <dgm:pt modelId="{765895AD-E893-4839-A2E8-5691E9C58B7F}" type="pres">
      <dgm:prSet presAssocID="{937CC218-182C-41DD-A447-AE820EC54AA6}" presName="Name0" presStyleCnt="0">
        <dgm:presLayoutVars>
          <dgm:dir/>
          <dgm:animLvl val="lvl"/>
          <dgm:resizeHandles val="exact"/>
        </dgm:presLayoutVars>
      </dgm:prSet>
      <dgm:spPr/>
    </dgm:pt>
    <dgm:pt modelId="{655749EC-5429-4F91-8BFC-C2BC0F8600D3}" type="pres">
      <dgm:prSet presAssocID="{2A9AAFCE-104F-4669-8B6B-B8C13737A689}" presName="Name8" presStyleCnt="0"/>
      <dgm:spPr/>
    </dgm:pt>
    <dgm:pt modelId="{16C449C5-3DEA-40DF-8901-09CC1179005E}" type="pres">
      <dgm:prSet presAssocID="{2A9AAFCE-104F-4669-8B6B-B8C13737A689}" presName="level" presStyleLbl="node1" presStyleIdx="0" presStyleCnt="3">
        <dgm:presLayoutVars>
          <dgm:chMax val="1"/>
          <dgm:bulletEnabled val="1"/>
        </dgm:presLayoutVars>
      </dgm:prSet>
      <dgm:spPr/>
      <dgm:t>
        <a:bodyPr/>
        <a:lstStyle/>
        <a:p>
          <a:endParaRPr lang="en-US"/>
        </a:p>
      </dgm:t>
    </dgm:pt>
    <dgm:pt modelId="{E8EFAFE0-3D66-4455-805C-D9BC3824B992}" type="pres">
      <dgm:prSet presAssocID="{2A9AAFCE-104F-4669-8B6B-B8C13737A689}" presName="levelTx" presStyleLbl="revTx" presStyleIdx="0" presStyleCnt="0">
        <dgm:presLayoutVars>
          <dgm:chMax val="1"/>
          <dgm:bulletEnabled val="1"/>
        </dgm:presLayoutVars>
      </dgm:prSet>
      <dgm:spPr/>
      <dgm:t>
        <a:bodyPr/>
        <a:lstStyle/>
        <a:p>
          <a:endParaRPr lang="en-US"/>
        </a:p>
      </dgm:t>
    </dgm:pt>
    <dgm:pt modelId="{61E45478-DF95-40E1-8A22-786A37B97AC9}" type="pres">
      <dgm:prSet presAssocID="{D02F9411-83F4-466C-AF4D-2ED31DD49604}" presName="Name8" presStyleCnt="0"/>
      <dgm:spPr/>
    </dgm:pt>
    <dgm:pt modelId="{A2428CD9-7808-4B33-8B76-85F74662F0BA}" type="pres">
      <dgm:prSet presAssocID="{D02F9411-83F4-466C-AF4D-2ED31DD49604}" presName="level" presStyleLbl="node1" presStyleIdx="1" presStyleCnt="3">
        <dgm:presLayoutVars>
          <dgm:chMax val="1"/>
          <dgm:bulletEnabled val="1"/>
        </dgm:presLayoutVars>
      </dgm:prSet>
      <dgm:spPr/>
      <dgm:t>
        <a:bodyPr/>
        <a:lstStyle/>
        <a:p>
          <a:endParaRPr lang="en-US"/>
        </a:p>
      </dgm:t>
    </dgm:pt>
    <dgm:pt modelId="{43A44828-C43C-426E-87B2-A8DA2A58A15E}" type="pres">
      <dgm:prSet presAssocID="{D02F9411-83F4-466C-AF4D-2ED31DD49604}" presName="levelTx" presStyleLbl="revTx" presStyleIdx="0" presStyleCnt="0">
        <dgm:presLayoutVars>
          <dgm:chMax val="1"/>
          <dgm:bulletEnabled val="1"/>
        </dgm:presLayoutVars>
      </dgm:prSet>
      <dgm:spPr/>
      <dgm:t>
        <a:bodyPr/>
        <a:lstStyle/>
        <a:p>
          <a:endParaRPr lang="en-US"/>
        </a:p>
      </dgm:t>
    </dgm:pt>
    <dgm:pt modelId="{2B4B4B20-6CDF-4314-9947-80887B3DB66A}" type="pres">
      <dgm:prSet presAssocID="{1F1FF70E-EF7C-4993-9A9E-FE2DE6DD2D7B}" presName="Name8" presStyleCnt="0"/>
      <dgm:spPr/>
    </dgm:pt>
    <dgm:pt modelId="{0FE95024-A58D-44AC-9A00-CE024FCBEB8F}" type="pres">
      <dgm:prSet presAssocID="{1F1FF70E-EF7C-4993-9A9E-FE2DE6DD2D7B}" presName="level" presStyleLbl="node1" presStyleIdx="2" presStyleCnt="3">
        <dgm:presLayoutVars>
          <dgm:chMax val="1"/>
          <dgm:bulletEnabled val="1"/>
        </dgm:presLayoutVars>
      </dgm:prSet>
      <dgm:spPr/>
      <dgm:t>
        <a:bodyPr/>
        <a:lstStyle/>
        <a:p>
          <a:endParaRPr lang="en-US"/>
        </a:p>
      </dgm:t>
    </dgm:pt>
    <dgm:pt modelId="{D23046FB-3BDF-4C82-B50C-76F9E7EEA3CD}" type="pres">
      <dgm:prSet presAssocID="{1F1FF70E-EF7C-4993-9A9E-FE2DE6DD2D7B}" presName="levelTx" presStyleLbl="revTx" presStyleIdx="0" presStyleCnt="0">
        <dgm:presLayoutVars>
          <dgm:chMax val="1"/>
          <dgm:bulletEnabled val="1"/>
        </dgm:presLayoutVars>
      </dgm:prSet>
      <dgm:spPr/>
      <dgm:t>
        <a:bodyPr/>
        <a:lstStyle/>
        <a:p>
          <a:endParaRPr lang="en-US"/>
        </a:p>
      </dgm:t>
    </dgm:pt>
  </dgm:ptLst>
  <dgm:cxnLst>
    <dgm:cxn modelId="{1ACC3DF9-C055-49E4-AA6C-CE22A044ABC9}" type="presOf" srcId="{D02F9411-83F4-466C-AF4D-2ED31DD49604}" destId="{A2428CD9-7808-4B33-8B76-85F74662F0BA}" srcOrd="0" destOrd="0" presId="urn:microsoft.com/office/officeart/2005/8/layout/pyramid1"/>
    <dgm:cxn modelId="{5D57F5E9-2DEB-4AD4-AC48-A56607D795BF}" type="presOf" srcId="{1F1FF70E-EF7C-4993-9A9E-FE2DE6DD2D7B}" destId="{0FE95024-A58D-44AC-9A00-CE024FCBEB8F}" srcOrd="0" destOrd="0" presId="urn:microsoft.com/office/officeart/2005/8/layout/pyramid1"/>
    <dgm:cxn modelId="{2DF0744F-38BB-487D-AB66-0F6F095F3717}" type="presOf" srcId="{2A9AAFCE-104F-4669-8B6B-B8C13737A689}" destId="{E8EFAFE0-3D66-4455-805C-D9BC3824B992}" srcOrd="1" destOrd="0" presId="urn:microsoft.com/office/officeart/2005/8/layout/pyramid1"/>
    <dgm:cxn modelId="{461BA433-3D19-4CDA-9978-73C71C1A2C4A}" type="presOf" srcId="{2A9AAFCE-104F-4669-8B6B-B8C13737A689}" destId="{16C449C5-3DEA-40DF-8901-09CC1179005E}" srcOrd="0" destOrd="0" presId="urn:microsoft.com/office/officeart/2005/8/layout/pyramid1"/>
    <dgm:cxn modelId="{B3A715A4-6BBA-4412-BBB9-C208DEC5ACCC}" type="presOf" srcId="{1F1FF70E-EF7C-4993-9A9E-FE2DE6DD2D7B}" destId="{D23046FB-3BDF-4C82-B50C-76F9E7EEA3CD}" srcOrd="1" destOrd="0" presId="urn:microsoft.com/office/officeart/2005/8/layout/pyramid1"/>
    <dgm:cxn modelId="{16E5FDFC-99AC-4906-900F-DBF6DE261672}" type="presOf" srcId="{937CC218-182C-41DD-A447-AE820EC54AA6}" destId="{765895AD-E893-4839-A2E8-5691E9C58B7F}" srcOrd="0" destOrd="0" presId="urn:microsoft.com/office/officeart/2005/8/layout/pyramid1"/>
    <dgm:cxn modelId="{D8FDC252-3929-4B81-A757-A03187FF71F2}" srcId="{937CC218-182C-41DD-A447-AE820EC54AA6}" destId="{1F1FF70E-EF7C-4993-9A9E-FE2DE6DD2D7B}" srcOrd="2" destOrd="0" parTransId="{FEB6EA11-F0A2-4E87-A788-F35515B42040}" sibTransId="{5D5A8F58-3A13-4F1C-92A3-0594F6AAB312}"/>
    <dgm:cxn modelId="{68221EEB-D51A-4C48-B81B-1C5E8689BB89}" srcId="{937CC218-182C-41DD-A447-AE820EC54AA6}" destId="{D02F9411-83F4-466C-AF4D-2ED31DD49604}" srcOrd="1" destOrd="0" parTransId="{39D2F94F-F2A1-411F-BD8D-F6F85DB848F5}" sibTransId="{2B19DA1E-D01E-4FE0-9C95-DEFBDA12D5AB}"/>
    <dgm:cxn modelId="{A425B72A-B6B8-41C5-AFCC-F8E0E4538633}" srcId="{937CC218-182C-41DD-A447-AE820EC54AA6}" destId="{2A9AAFCE-104F-4669-8B6B-B8C13737A689}" srcOrd="0" destOrd="0" parTransId="{6787B4AD-B2B9-4B44-A76B-F61586AC8777}" sibTransId="{16024DCB-09D4-4323-A800-CC2CA5F2EFF8}"/>
    <dgm:cxn modelId="{F5959C3D-D810-415E-9520-5B31818872F7}" type="presOf" srcId="{D02F9411-83F4-466C-AF4D-2ED31DD49604}" destId="{43A44828-C43C-426E-87B2-A8DA2A58A15E}" srcOrd="1" destOrd="0" presId="urn:microsoft.com/office/officeart/2005/8/layout/pyramid1"/>
    <dgm:cxn modelId="{E42EFFD2-B1F8-44FD-8829-C9A48E295E10}" type="presParOf" srcId="{765895AD-E893-4839-A2E8-5691E9C58B7F}" destId="{655749EC-5429-4F91-8BFC-C2BC0F8600D3}" srcOrd="0" destOrd="0" presId="urn:microsoft.com/office/officeart/2005/8/layout/pyramid1"/>
    <dgm:cxn modelId="{3F82D0DE-A33C-4C35-B324-7E0FEC6DE957}" type="presParOf" srcId="{655749EC-5429-4F91-8BFC-C2BC0F8600D3}" destId="{16C449C5-3DEA-40DF-8901-09CC1179005E}" srcOrd="0" destOrd="0" presId="urn:microsoft.com/office/officeart/2005/8/layout/pyramid1"/>
    <dgm:cxn modelId="{4364B18C-34AD-461C-8827-527642415342}" type="presParOf" srcId="{655749EC-5429-4F91-8BFC-C2BC0F8600D3}" destId="{E8EFAFE0-3D66-4455-805C-D9BC3824B992}" srcOrd="1" destOrd="0" presId="urn:microsoft.com/office/officeart/2005/8/layout/pyramid1"/>
    <dgm:cxn modelId="{1A567BAB-E4D2-45D9-8A65-FAD080D52F6C}" type="presParOf" srcId="{765895AD-E893-4839-A2E8-5691E9C58B7F}" destId="{61E45478-DF95-40E1-8A22-786A37B97AC9}" srcOrd="1" destOrd="0" presId="urn:microsoft.com/office/officeart/2005/8/layout/pyramid1"/>
    <dgm:cxn modelId="{EC5084DE-EE01-48DB-AFA5-5B1EAE221EED}" type="presParOf" srcId="{61E45478-DF95-40E1-8A22-786A37B97AC9}" destId="{A2428CD9-7808-4B33-8B76-85F74662F0BA}" srcOrd="0" destOrd="0" presId="urn:microsoft.com/office/officeart/2005/8/layout/pyramid1"/>
    <dgm:cxn modelId="{CCDDE4B0-DD48-4092-88F8-9976AC70EE16}" type="presParOf" srcId="{61E45478-DF95-40E1-8A22-786A37B97AC9}" destId="{43A44828-C43C-426E-87B2-A8DA2A58A15E}" srcOrd="1" destOrd="0" presId="urn:microsoft.com/office/officeart/2005/8/layout/pyramid1"/>
    <dgm:cxn modelId="{CC94F1C5-64A9-481F-9266-25AA02A1EA69}" type="presParOf" srcId="{765895AD-E893-4839-A2E8-5691E9C58B7F}" destId="{2B4B4B20-6CDF-4314-9947-80887B3DB66A}" srcOrd="2" destOrd="0" presId="urn:microsoft.com/office/officeart/2005/8/layout/pyramid1"/>
    <dgm:cxn modelId="{F4735D24-FD46-4089-91ED-172770A403FD}" type="presParOf" srcId="{2B4B4B20-6CDF-4314-9947-80887B3DB66A}" destId="{0FE95024-A58D-44AC-9A00-CE024FCBEB8F}" srcOrd="0" destOrd="0" presId="urn:microsoft.com/office/officeart/2005/8/layout/pyramid1"/>
    <dgm:cxn modelId="{FCEFE182-7828-4D9A-BDE2-0F8C2066C273}" type="presParOf" srcId="{2B4B4B20-6CDF-4314-9947-80887B3DB66A}" destId="{D23046FB-3BDF-4C82-B50C-76F9E7EEA3CD}" srcOrd="1" destOrd="0" presId="urn:microsoft.com/office/officeart/2005/8/layout/pyramid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dirty="0" smtClean="0">
              <a:latin typeface="+mj-lt"/>
            </a:rPr>
            <a:t>Quality gates</a:t>
          </a: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Pre UAT demo</a:t>
          </a:r>
          <a:endParaRPr lang="en-US" sz="1100"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49064425-A2D2-44AB-9244-7B3C15222BFE}">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Test report</a:t>
          </a:r>
          <a:endParaRPr lang="en-US" sz="1100" dirty="0"/>
        </a:p>
      </dgm:t>
    </dgm:pt>
    <dgm:pt modelId="{5D4CBADE-68C6-4AF3-B4A1-9CF6AA8228AC}" type="parTrans" cxnId="{0C25F0C9-20C9-4D0A-AE20-8192A220690A}">
      <dgm:prSet/>
      <dgm:spPr/>
      <dgm:t>
        <a:bodyPr/>
        <a:lstStyle/>
        <a:p>
          <a:endParaRPr lang="en-US"/>
        </a:p>
      </dgm:t>
    </dgm:pt>
    <dgm:pt modelId="{984DF9F9-7770-4A3A-9DDB-1B77C16D734B}" type="sibTrans" cxnId="{0C25F0C9-20C9-4D0A-AE20-8192A220690A}">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custLinFactNeighborX="4846" custLinFactNeighborY="-14190">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custScaleY="113126" custLinFactY="100000" custLinFactNeighborY="181806">
        <dgm:presLayoutVars>
          <dgm:bulletEnabled val="1"/>
        </dgm:presLayoutVars>
      </dgm:prSet>
      <dgm:spPr/>
      <dgm:t>
        <a:bodyPr/>
        <a:lstStyle/>
        <a:p>
          <a:endParaRPr lang="en-US"/>
        </a:p>
      </dgm:t>
    </dgm:pt>
  </dgm:ptLst>
  <dgm:cxnLst>
    <dgm:cxn modelId="{3FAFC543-4BB0-4E14-AF39-94011BFA718C}" srcId="{179C3A71-5A2D-479F-A5E8-393F4FECB10D}" destId="{F485E7CF-2BF0-4B96-8318-06BD6CAB9374}" srcOrd="0" destOrd="0" parTransId="{A218649F-FDF3-43AC-91D6-F29E785D3ED3}" sibTransId="{140B4FB9-389C-4DF9-A8EA-6651915EC65C}"/>
    <dgm:cxn modelId="{F31D14D0-DC04-4CB8-BDAB-48D0F870B56E}" srcId="{CF384C5A-00C6-4D83-85F4-38E9DF804FDB}" destId="{179C3A71-5A2D-479F-A5E8-393F4FECB10D}" srcOrd="0" destOrd="0" parTransId="{F57177BC-8118-4A84-AB75-7812DA2DB4A9}" sibTransId="{22A2D10C-3789-49DD-90A3-81CCCF2C883C}"/>
    <dgm:cxn modelId="{707D20B1-7D82-4792-AE70-78CA0810E56E}" type="presOf" srcId="{49064425-A2D2-44AB-9244-7B3C15222BFE}" destId="{93D9C83D-759B-47C6-862D-F1C4F58901A1}" srcOrd="0" destOrd="1" presId="urn:microsoft.com/office/officeart/2005/8/layout/hList1"/>
    <dgm:cxn modelId="{D85ED1C8-F7CD-422D-ABFE-CD80FE2F55AF}" type="presOf" srcId="{179C3A71-5A2D-479F-A5E8-393F4FECB10D}" destId="{9F610744-7E8C-486F-8E5C-2104901C2CDD}" srcOrd="0" destOrd="0" presId="urn:microsoft.com/office/officeart/2005/8/layout/hList1"/>
    <dgm:cxn modelId="{0C25F0C9-20C9-4D0A-AE20-8192A220690A}" srcId="{179C3A71-5A2D-479F-A5E8-393F4FECB10D}" destId="{49064425-A2D2-44AB-9244-7B3C15222BFE}" srcOrd="1" destOrd="0" parTransId="{5D4CBADE-68C6-4AF3-B4A1-9CF6AA8228AC}" sibTransId="{984DF9F9-7770-4A3A-9DDB-1B77C16D734B}"/>
    <dgm:cxn modelId="{4E9286F2-30CC-4E06-90F4-C9799BDD057C}" type="presOf" srcId="{CF384C5A-00C6-4D83-85F4-38E9DF804FDB}" destId="{71D3D8CB-97D5-49B9-AB72-5309339EACC3}" srcOrd="0" destOrd="0" presId="urn:microsoft.com/office/officeart/2005/8/layout/hList1"/>
    <dgm:cxn modelId="{66C250B1-4D80-46DE-BA12-7B914D84FFB0}" type="presOf" srcId="{F485E7CF-2BF0-4B96-8318-06BD6CAB9374}" destId="{93D9C83D-759B-47C6-862D-F1C4F58901A1}" srcOrd="0" destOrd="0" presId="urn:microsoft.com/office/officeart/2005/8/layout/hList1"/>
    <dgm:cxn modelId="{1CA296F5-1741-43A6-9107-8B8C238B9C80}" type="presParOf" srcId="{71D3D8CB-97D5-49B9-AB72-5309339EACC3}" destId="{8A03F874-FD80-4F57-987A-00D51E47D025}" srcOrd="0" destOrd="0" presId="urn:microsoft.com/office/officeart/2005/8/layout/hList1"/>
    <dgm:cxn modelId="{D9296400-45FD-44B5-8CEE-B1F2834F553D}" type="presParOf" srcId="{8A03F874-FD80-4F57-987A-00D51E47D025}" destId="{9F610744-7E8C-486F-8E5C-2104901C2CDD}" srcOrd="0" destOrd="0" presId="urn:microsoft.com/office/officeart/2005/8/layout/hList1"/>
    <dgm:cxn modelId="{813B4D7B-ADA4-4798-88E5-C623E96DE779}"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4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Requirement</a:t>
          </a:r>
          <a:endParaRPr lang="en-US" sz="1200" b="1" dirty="0">
            <a:latin typeface="+mj-lt"/>
          </a:endParaRP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custT="1"/>
      <dgm:spPr>
        <a:solidFill>
          <a:schemeClr val="bg2">
            <a:lumMod val="20000"/>
            <a:lumOff val="80000"/>
            <a:alpha val="90000"/>
          </a:schemeClr>
        </a:solidFill>
        <a:ln>
          <a:solidFill>
            <a:schemeClr val="bg2">
              <a:alpha val="90000"/>
            </a:schemeClr>
          </a:solidFill>
        </a:ln>
      </dgm:spPr>
      <dgm:t>
        <a:bodyPr/>
        <a:lstStyle/>
        <a:p>
          <a:r>
            <a:rPr lang="en-US" sz="1100" dirty="0" smtClean="0"/>
            <a:t>ALM tool</a:t>
          </a:r>
          <a:endParaRPr lang="en-US" sz="1100"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6718298F-018D-4646-8F4B-423FC92EB78F}">
      <dgm:prSet phldrT="[Text]" custT="1"/>
      <dgm:spPr>
        <a:solidFill>
          <a:schemeClr val="bg2">
            <a:lumMod val="20000"/>
            <a:lumOff val="80000"/>
            <a:alpha val="90000"/>
          </a:schemeClr>
        </a:solidFill>
        <a:ln>
          <a:solidFill>
            <a:schemeClr val="bg2">
              <a:alpha val="90000"/>
            </a:schemeClr>
          </a:solidFill>
        </a:ln>
      </dgm:spPr>
      <dgm:t>
        <a:bodyPr/>
        <a:lstStyle/>
        <a:p>
          <a:r>
            <a:rPr lang="en-US" sz="1100" dirty="0" smtClean="0"/>
            <a:t>Intake checklist</a:t>
          </a:r>
          <a:endParaRPr lang="en-US" sz="1100" dirty="0"/>
        </a:p>
      </dgm:t>
    </dgm:pt>
    <dgm:pt modelId="{FE761AB0-DBF2-4371-9490-D2DF304FC5A2}" type="parTrans" cxnId="{2E5E6C49-31FB-478A-934B-95C3829A9BD7}">
      <dgm:prSet/>
      <dgm:spPr/>
      <dgm:t>
        <a:bodyPr/>
        <a:lstStyle/>
        <a:p>
          <a:endParaRPr lang="en-US"/>
        </a:p>
      </dgm:t>
    </dgm:pt>
    <dgm:pt modelId="{79361D36-ABED-474E-A89C-0FEA0686553E}" type="sibTrans" cxnId="{2E5E6C49-31FB-478A-934B-95C3829A9BD7}">
      <dgm:prSet/>
      <dgm:spPr/>
      <dgm:t>
        <a:bodyPr/>
        <a:lstStyle/>
        <a:p>
          <a:endParaRPr lang="en-US"/>
        </a:p>
      </dgm:t>
    </dgm:pt>
    <dgm:pt modelId="{90C83C9D-7459-4845-8F27-DB9FB123E8E4}">
      <dgm:prSet phldrT="[Text]" custT="1"/>
      <dgm:spPr>
        <a:solidFill>
          <a:schemeClr val="bg2">
            <a:lumMod val="20000"/>
            <a:lumOff val="80000"/>
            <a:alpha val="90000"/>
          </a:schemeClr>
        </a:solidFill>
        <a:ln>
          <a:solidFill>
            <a:schemeClr val="bg2">
              <a:alpha val="90000"/>
            </a:schemeClr>
          </a:solidFill>
        </a:ln>
      </dgm:spPr>
      <dgm:t>
        <a:bodyPr/>
        <a:lstStyle/>
        <a:p>
          <a:r>
            <a:rPr lang="en-US" sz="1100" dirty="0" smtClean="0"/>
            <a:t>IBM RSA</a:t>
          </a:r>
          <a:endParaRPr lang="en-US" sz="1100" dirty="0"/>
        </a:p>
      </dgm:t>
    </dgm:pt>
    <dgm:pt modelId="{5201767D-A47D-418A-A4DF-CC9F4025733F}" type="parTrans" cxnId="{31B17A65-3C29-45A6-85AB-D72F4AC7F23E}">
      <dgm:prSet/>
      <dgm:spPr/>
    </dgm:pt>
    <dgm:pt modelId="{02E1FA4B-2229-4C69-A830-FE581B3CA43E}" type="sibTrans" cxnId="{31B17A65-3C29-45A6-85AB-D72F4AC7F23E}">
      <dgm:prSet/>
      <dgm:spPr/>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3FAFC543-4BB0-4E14-AF39-94011BFA718C}" srcId="{179C3A71-5A2D-479F-A5E8-393F4FECB10D}" destId="{F485E7CF-2BF0-4B96-8318-06BD6CAB9374}" srcOrd="0" destOrd="0" parTransId="{A218649F-FDF3-43AC-91D6-F29E785D3ED3}" sibTransId="{140B4FB9-389C-4DF9-A8EA-6651915EC65C}"/>
    <dgm:cxn modelId="{2E5E6C49-31FB-478A-934B-95C3829A9BD7}" srcId="{179C3A71-5A2D-479F-A5E8-393F4FECB10D}" destId="{6718298F-018D-4646-8F4B-423FC92EB78F}" srcOrd="2" destOrd="0" parTransId="{FE761AB0-DBF2-4371-9490-D2DF304FC5A2}" sibTransId="{79361D36-ABED-474E-A89C-0FEA0686553E}"/>
    <dgm:cxn modelId="{31B17A65-3C29-45A6-85AB-D72F4AC7F23E}" srcId="{179C3A71-5A2D-479F-A5E8-393F4FECB10D}" destId="{90C83C9D-7459-4845-8F27-DB9FB123E8E4}" srcOrd="1" destOrd="0" parTransId="{5201767D-A47D-418A-A4DF-CC9F4025733F}" sibTransId="{02E1FA4B-2229-4C69-A830-FE581B3CA43E}"/>
    <dgm:cxn modelId="{D4D72F5D-FFD0-4CCA-A358-03C0C89E6BD9}" type="presOf" srcId="{6718298F-018D-4646-8F4B-423FC92EB78F}" destId="{93D9C83D-759B-47C6-862D-F1C4F58901A1}" srcOrd="0" destOrd="2" presId="urn:microsoft.com/office/officeart/2005/8/layout/hList1"/>
    <dgm:cxn modelId="{F31D14D0-DC04-4CB8-BDAB-48D0F870B56E}" srcId="{CF384C5A-00C6-4D83-85F4-38E9DF804FDB}" destId="{179C3A71-5A2D-479F-A5E8-393F4FECB10D}" srcOrd="0" destOrd="0" parTransId="{F57177BC-8118-4A84-AB75-7812DA2DB4A9}" sibTransId="{22A2D10C-3789-49DD-90A3-81CCCF2C883C}"/>
    <dgm:cxn modelId="{4F4D6C23-6A16-4713-A0B5-58626666F722}" type="presOf" srcId="{179C3A71-5A2D-479F-A5E8-393F4FECB10D}" destId="{9F610744-7E8C-486F-8E5C-2104901C2CDD}" srcOrd="0" destOrd="0" presId="urn:microsoft.com/office/officeart/2005/8/layout/hList1"/>
    <dgm:cxn modelId="{93DD467C-AB04-403F-A3E6-BA6EDB1C83A3}" type="presOf" srcId="{CF384C5A-00C6-4D83-85F4-38E9DF804FDB}" destId="{71D3D8CB-97D5-49B9-AB72-5309339EACC3}" srcOrd="0" destOrd="0" presId="urn:microsoft.com/office/officeart/2005/8/layout/hList1"/>
    <dgm:cxn modelId="{606B59AE-8427-490C-A79D-E9C8B4693908}" type="presOf" srcId="{F485E7CF-2BF0-4B96-8318-06BD6CAB9374}" destId="{93D9C83D-759B-47C6-862D-F1C4F58901A1}" srcOrd="0" destOrd="0" presId="urn:microsoft.com/office/officeart/2005/8/layout/hList1"/>
    <dgm:cxn modelId="{020BD8FF-C0D1-432F-97EA-AE6C20431702}" type="presOf" srcId="{90C83C9D-7459-4845-8F27-DB9FB123E8E4}" destId="{93D9C83D-759B-47C6-862D-F1C4F58901A1}" srcOrd="0" destOrd="1" presId="urn:microsoft.com/office/officeart/2005/8/layout/hList1"/>
    <dgm:cxn modelId="{1E7049AE-C15A-4072-9B5A-07C5A8E1E152}" type="presParOf" srcId="{71D3D8CB-97D5-49B9-AB72-5309339EACC3}" destId="{8A03F874-FD80-4F57-987A-00D51E47D025}" srcOrd="0" destOrd="0" presId="urn:microsoft.com/office/officeart/2005/8/layout/hList1"/>
    <dgm:cxn modelId="{1D6190DA-35E6-46C2-A003-F712DF4B758C}" type="presParOf" srcId="{8A03F874-FD80-4F57-987A-00D51E47D025}" destId="{9F610744-7E8C-486F-8E5C-2104901C2CDD}" srcOrd="0" destOrd="0" presId="urn:microsoft.com/office/officeart/2005/8/layout/hList1"/>
    <dgm:cxn modelId="{A9E8FC95-F9A4-428B-B8EE-F557DAD44E94}"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Analysis &amp; Estimation</a:t>
          </a:r>
          <a:endParaRPr lang="en-US" sz="1200" b="1" dirty="0">
            <a:latin typeface="+mj-lt"/>
          </a:endParaRP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dgm:spPr>
        <a:solidFill>
          <a:schemeClr val="bg2">
            <a:lumMod val="20000"/>
            <a:lumOff val="80000"/>
            <a:alpha val="90000"/>
          </a:schemeClr>
        </a:solidFill>
        <a:ln>
          <a:solidFill>
            <a:schemeClr val="tx1">
              <a:lumMod val="50000"/>
              <a:lumOff val="50000"/>
              <a:alpha val="90000"/>
            </a:schemeClr>
          </a:solidFill>
        </a:ln>
      </dgm:spPr>
      <dgm:t>
        <a:bodyPr/>
        <a:lstStyle/>
        <a:p>
          <a:r>
            <a:rPr lang="en-US" dirty="0" smtClean="0"/>
            <a:t>Discussions</a:t>
          </a:r>
          <a:endParaRPr lang="en-US"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6718298F-018D-4646-8F4B-423FC92EB78F}">
      <dgm:prSet phldrT="[Text]"/>
      <dgm:spPr>
        <a:solidFill>
          <a:schemeClr val="bg2">
            <a:lumMod val="20000"/>
            <a:lumOff val="80000"/>
            <a:alpha val="90000"/>
          </a:schemeClr>
        </a:solidFill>
        <a:ln>
          <a:solidFill>
            <a:schemeClr val="tx1">
              <a:lumMod val="50000"/>
              <a:lumOff val="50000"/>
              <a:alpha val="90000"/>
            </a:schemeClr>
          </a:solidFill>
        </a:ln>
      </dgm:spPr>
      <dgm:t>
        <a:bodyPr/>
        <a:lstStyle/>
        <a:p>
          <a:r>
            <a:rPr lang="en-US" dirty="0" smtClean="0"/>
            <a:t>Walkthrough</a:t>
          </a:r>
          <a:endParaRPr lang="en-US" dirty="0"/>
        </a:p>
      </dgm:t>
    </dgm:pt>
    <dgm:pt modelId="{FE761AB0-DBF2-4371-9490-D2DF304FC5A2}" type="parTrans" cxnId="{2E5E6C49-31FB-478A-934B-95C3829A9BD7}">
      <dgm:prSet/>
      <dgm:spPr/>
      <dgm:t>
        <a:bodyPr/>
        <a:lstStyle/>
        <a:p>
          <a:endParaRPr lang="en-US"/>
        </a:p>
      </dgm:t>
    </dgm:pt>
    <dgm:pt modelId="{79361D36-ABED-474E-A89C-0FEA0686553E}" type="sibTrans" cxnId="{2E5E6C49-31FB-478A-934B-95C3829A9BD7}">
      <dgm:prSet/>
      <dgm:spPr/>
      <dgm:t>
        <a:bodyPr/>
        <a:lstStyle/>
        <a:p>
          <a:endParaRPr lang="en-US"/>
        </a:p>
      </dgm:t>
    </dgm:pt>
    <dgm:pt modelId="{78F545AD-FEC9-4D5E-AB43-5EB84760E6EB}">
      <dgm:prSet phldrT="[Text]"/>
      <dgm:spPr>
        <a:solidFill>
          <a:schemeClr val="bg2">
            <a:lumMod val="20000"/>
            <a:lumOff val="80000"/>
            <a:alpha val="90000"/>
          </a:schemeClr>
        </a:solidFill>
        <a:ln>
          <a:solidFill>
            <a:schemeClr val="tx1">
              <a:lumMod val="50000"/>
              <a:lumOff val="50000"/>
              <a:alpha val="90000"/>
            </a:schemeClr>
          </a:solidFill>
        </a:ln>
      </dgm:spPr>
      <dgm:t>
        <a:bodyPr/>
        <a:lstStyle/>
        <a:p>
          <a:r>
            <a:rPr lang="en-US" dirty="0" smtClean="0"/>
            <a:t>Impact analysis</a:t>
          </a:r>
          <a:endParaRPr lang="en-US" dirty="0"/>
        </a:p>
      </dgm:t>
    </dgm:pt>
    <dgm:pt modelId="{0C30B17A-8897-43DC-87EF-D43F9F01D654}" type="parTrans" cxnId="{FE0B3586-C9E7-4A67-BF11-4369C399CB5A}">
      <dgm:prSet/>
      <dgm:spPr/>
      <dgm:t>
        <a:bodyPr/>
        <a:lstStyle/>
        <a:p>
          <a:endParaRPr lang="en-US"/>
        </a:p>
      </dgm:t>
    </dgm:pt>
    <dgm:pt modelId="{9EAE2FEB-7077-4CF8-9BE2-547617C3F69E}" type="sibTrans" cxnId="{FE0B3586-C9E7-4A67-BF11-4369C399CB5A}">
      <dgm:prSet/>
      <dgm:spPr/>
      <dgm:t>
        <a:bodyPr/>
        <a:lstStyle/>
        <a:p>
          <a:endParaRPr lang="en-US"/>
        </a:p>
      </dgm:t>
    </dgm:pt>
    <dgm:pt modelId="{E8BD65C2-3A5B-4085-9B42-B00F17B9759F}">
      <dgm:prSet phldrT="[Text]"/>
      <dgm:spPr>
        <a:solidFill>
          <a:schemeClr val="bg2">
            <a:lumMod val="20000"/>
            <a:lumOff val="80000"/>
            <a:alpha val="90000"/>
          </a:schemeClr>
        </a:solidFill>
        <a:ln>
          <a:solidFill>
            <a:schemeClr val="tx1">
              <a:lumMod val="50000"/>
              <a:lumOff val="50000"/>
              <a:alpha val="90000"/>
            </a:schemeClr>
          </a:solidFill>
        </a:ln>
      </dgm:spPr>
      <dgm:t>
        <a:bodyPr/>
        <a:lstStyle/>
        <a:p>
          <a:r>
            <a:rPr lang="en-US" dirty="0" smtClean="0"/>
            <a:t>Dependency matrix</a:t>
          </a:r>
          <a:endParaRPr lang="en-US" dirty="0"/>
        </a:p>
      </dgm:t>
    </dgm:pt>
    <dgm:pt modelId="{B5C53A8C-AAE1-4D1E-B7EE-89DEEF0A1CA5}" type="parTrans" cxnId="{B782AEBD-1BF5-441F-BAE6-C165853AA01C}">
      <dgm:prSet/>
      <dgm:spPr/>
      <dgm:t>
        <a:bodyPr/>
        <a:lstStyle/>
        <a:p>
          <a:endParaRPr lang="en-US"/>
        </a:p>
      </dgm:t>
    </dgm:pt>
    <dgm:pt modelId="{809B7710-D487-4A40-9773-99BFF4BFA992}" type="sibTrans" cxnId="{B782AEBD-1BF5-441F-BAE6-C165853AA01C}">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3FAFC543-4BB0-4E14-AF39-94011BFA718C}" srcId="{179C3A71-5A2D-479F-A5E8-393F4FECB10D}" destId="{F485E7CF-2BF0-4B96-8318-06BD6CAB9374}" srcOrd="0" destOrd="0" parTransId="{A218649F-FDF3-43AC-91D6-F29E785D3ED3}" sibTransId="{140B4FB9-389C-4DF9-A8EA-6651915EC65C}"/>
    <dgm:cxn modelId="{2E5E6C49-31FB-478A-934B-95C3829A9BD7}" srcId="{179C3A71-5A2D-479F-A5E8-393F4FECB10D}" destId="{6718298F-018D-4646-8F4B-423FC92EB78F}" srcOrd="1" destOrd="0" parTransId="{FE761AB0-DBF2-4371-9490-D2DF304FC5A2}" sibTransId="{79361D36-ABED-474E-A89C-0FEA0686553E}"/>
    <dgm:cxn modelId="{91BD9F1B-DC20-41D4-98BC-BB5B9A7DCF1E}" type="presOf" srcId="{E8BD65C2-3A5B-4085-9B42-B00F17B9759F}" destId="{93D9C83D-759B-47C6-862D-F1C4F58901A1}" srcOrd="0" destOrd="3" presId="urn:microsoft.com/office/officeart/2005/8/layout/hList1"/>
    <dgm:cxn modelId="{FE0B3586-C9E7-4A67-BF11-4369C399CB5A}" srcId="{179C3A71-5A2D-479F-A5E8-393F4FECB10D}" destId="{78F545AD-FEC9-4D5E-AB43-5EB84760E6EB}" srcOrd="2" destOrd="0" parTransId="{0C30B17A-8897-43DC-87EF-D43F9F01D654}" sibTransId="{9EAE2FEB-7077-4CF8-9BE2-547617C3F69E}"/>
    <dgm:cxn modelId="{F31D14D0-DC04-4CB8-BDAB-48D0F870B56E}" srcId="{CF384C5A-00C6-4D83-85F4-38E9DF804FDB}" destId="{179C3A71-5A2D-479F-A5E8-393F4FECB10D}" srcOrd="0" destOrd="0" parTransId="{F57177BC-8118-4A84-AB75-7812DA2DB4A9}" sibTransId="{22A2D10C-3789-49DD-90A3-81CCCF2C883C}"/>
    <dgm:cxn modelId="{B1581B52-D989-4CC0-9601-617D6C76E4E4}" type="presOf" srcId="{78F545AD-FEC9-4D5E-AB43-5EB84760E6EB}" destId="{93D9C83D-759B-47C6-862D-F1C4F58901A1}" srcOrd="0" destOrd="2" presId="urn:microsoft.com/office/officeart/2005/8/layout/hList1"/>
    <dgm:cxn modelId="{6D26256C-E2BB-4DC1-8EE2-4605B02D21B9}" type="presOf" srcId="{6718298F-018D-4646-8F4B-423FC92EB78F}" destId="{93D9C83D-759B-47C6-862D-F1C4F58901A1}" srcOrd="0" destOrd="1" presId="urn:microsoft.com/office/officeart/2005/8/layout/hList1"/>
    <dgm:cxn modelId="{52E1C1D0-758C-4EEF-9792-48769844C9FC}" type="presOf" srcId="{179C3A71-5A2D-479F-A5E8-393F4FECB10D}" destId="{9F610744-7E8C-486F-8E5C-2104901C2CDD}" srcOrd="0" destOrd="0" presId="urn:microsoft.com/office/officeart/2005/8/layout/hList1"/>
    <dgm:cxn modelId="{B782AEBD-1BF5-441F-BAE6-C165853AA01C}" srcId="{179C3A71-5A2D-479F-A5E8-393F4FECB10D}" destId="{E8BD65C2-3A5B-4085-9B42-B00F17B9759F}" srcOrd="3" destOrd="0" parTransId="{B5C53A8C-AAE1-4D1E-B7EE-89DEEF0A1CA5}" sibTransId="{809B7710-D487-4A40-9773-99BFF4BFA992}"/>
    <dgm:cxn modelId="{C8167F13-31DF-42CE-8E44-FDF58B3F8666}" type="presOf" srcId="{CF384C5A-00C6-4D83-85F4-38E9DF804FDB}" destId="{71D3D8CB-97D5-49B9-AB72-5309339EACC3}" srcOrd="0" destOrd="0" presId="urn:microsoft.com/office/officeart/2005/8/layout/hList1"/>
    <dgm:cxn modelId="{72E53DDC-B3FA-4F6E-ACF9-B9E73B2095CA}" type="presOf" srcId="{F485E7CF-2BF0-4B96-8318-06BD6CAB9374}" destId="{93D9C83D-759B-47C6-862D-F1C4F58901A1}" srcOrd="0" destOrd="0" presId="urn:microsoft.com/office/officeart/2005/8/layout/hList1"/>
    <dgm:cxn modelId="{86527247-8AF6-42D4-8508-9CEF94F32B80}" type="presParOf" srcId="{71D3D8CB-97D5-49B9-AB72-5309339EACC3}" destId="{8A03F874-FD80-4F57-987A-00D51E47D025}" srcOrd="0" destOrd="0" presId="urn:microsoft.com/office/officeart/2005/8/layout/hList1"/>
    <dgm:cxn modelId="{092085F4-14EE-468A-8831-12F9C7BE1B32}" type="presParOf" srcId="{8A03F874-FD80-4F57-987A-00D51E47D025}" destId="{9F610744-7E8C-486F-8E5C-2104901C2CDD}" srcOrd="0" destOrd="0" presId="urn:microsoft.com/office/officeart/2005/8/layout/hList1"/>
    <dgm:cxn modelId="{C75646A3-0863-481C-91E4-9E5305429C3F}"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Change Request </a:t>
          </a:r>
          <a:endParaRPr lang="en-US" sz="1200" b="1" dirty="0">
            <a:latin typeface="+mj-lt"/>
          </a:endParaRP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CR document</a:t>
          </a:r>
          <a:endParaRPr lang="en-US" sz="1100"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E1F1FE49-E797-4FBA-A0A4-1472D248DEA4}">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PD estimates</a:t>
          </a:r>
          <a:endParaRPr lang="en-US" sz="1100" dirty="0"/>
        </a:p>
      </dgm:t>
    </dgm:pt>
    <dgm:pt modelId="{7B25F99F-FDA8-4C78-B133-6DB03A2E3FC1}" type="parTrans" cxnId="{28BC5F79-903A-4854-B655-102CA776D2A9}">
      <dgm:prSet/>
      <dgm:spPr/>
      <dgm:t>
        <a:bodyPr/>
        <a:lstStyle/>
        <a:p>
          <a:endParaRPr lang="en-US"/>
        </a:p>
      </dgm:t>
    </dgm:pt>
    <dgm:pt modelId="{4C98BBB2-8D5D-4258-96F0-1297B391A759}" type="sibTrans" cxnId="{28BC5F79-903A-4854-B655-102CA776D2A9}">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3FAFC543-4BB0-4E14-AF39-94011BFA718C}" srcId="{179C3A71-5A2D-479F-A5E8-393F4FECB10D}" destId="{F485E7CF-2BF0-4B96-8318-06BD6CAB9374}" srcOrd="0" destOrd="0" parTransId="{A218649F-FDF3-43AC-91D6-F29E785D3ED3}" sibTransId="{140B4FB9-389C-4DF9-A8EA-6651915EC65C}"/>
    <dgm:cxn modelId="{D9DC60CA-BF4A-4110-BCDD-DC17ADA22D53}" type="presOf" srcId="{E1F1FE49-E797-4FBA-A0A4-1472D248DEA4}" destId="{93D9C83D-759B-47C6-862D-F1C4F58901A1}" srcOrd="0" destOrd="1" presId="urn:microsoft.com/office/officeart/2005/8/layout/hList1"/>
    <dgm:cxn modelId="{28BC5F79-903A-4854-B655-102CA776D2A9}" srcId="{179C3A71-5A2D-479F-A5E8-393F4FECB10D}" destId="{E1F1FE49-E797-4FBA-A0A4-1472D248DEA4}" srcOrd="1" destOrd="0" parTransId="{7B25F99F-FDA8-4C78-B133-6DB03A2E3FC1}" sibTransId="{4C98BBB2-8D5D-4258-96F0-1297B391A759}"/>
    <dgm:cxn modelId="{F31D14D0-DC04-4CB8-BDAB-48D0F870B56E}" srcId="{CF384C5A-00C6-4D83-85F4-38E9DF804FDB}" destId="{179C3A71-5A2D-479F-A5E8-393F4FECB10D}" srcOrd="0" destOrd="0" parTransId="{F57177BC-8118-4A84-AB75-7812DA2DB4A9}" sibTransId="{22A2D10C-3789-49DD-90A3-81CCCF2C883C}"/>
    <dgm:cxn modelId="{EE5574E3-804E-44E9-8460-6F2645BBE232}" type="presOf" srcId="{CF384C5A-00C6-4D83-85F4-38E9DF804FDB}" destId="{71D3D8CB-97D5-49B9-AB72-5309339EACC3}" srcOrd="0" destOrd="0" presId="urn:microsoft.com/office/officeart/2005/8/layout/hList1"/>
    <dgm:cxn modelId="{7A5488CC-DA3A-420F-8C40-1E36E3E19E03}" type="presOf" srcId="{179C3A71-5A2D-479F-A5E8-393F4FECB10D}" destId="{9F610744-7E8C-486F-8E5C-2104901C2CDD}" srcOrd="0" destOrd="0" presId="urn:microsoft.com/office/officeart/2005/8/layout/hList1"/>
    <dgm:cxn modelId="{3359F250-5102-4BE8-9D97-8D79E36FF192}" type="presOf" srcId="{F485E7CF-2BF0-4B96-8318-06BD6CAB9374}" destId="{93D9C83D-759B-47C6-862D-F1C4F58901A1}" srcOrd="0" destOrd="0" presId="urn:microsoft.com/office/officeart/2005/8/layout/hList1"/>
    <dgm:cxn modelId="{B4E359BF-6650-4F32-8DA8-7944088B4253}" type="presParOf" srcId="{71D3D8CB-97D5-49B9-AB72-5309339EACC3}" destId="{8A03F874-FD80-4F57-987A-00D51E47D025}" srcOrd="0" destOrd="0" presId="urn:microsoft.com/office/officeart/2005/8/layout/hList1"/>
    <dgm:cxn modelId="{7F7163EF-627C-419B-A6E4-18B0F6449352}" type="presParOf" srcId="{8A03F874-FD80-4F57-987A-00D51E47D025}" destId="{9F610744-7E8C-486F-8E5C-2104901C2CDD}" srcOrd="0" destOrd="0" presId="urn:microsoft.com/office/officeart/2005/8/layout/hList1"/>
    <dgm:cxn modelId="{55CAE80D-ACDB-41EA-ABC1-E077FE9AFEF1}"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Analysis</a:t>
          </a:r>
          <a:endParaRPr lang="en-US" sz="1200" b="1" dirty="0">
            <a:latin typeface="+mj-lt"/>
          </a:endParaRP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Kick off meeting</a:t>
          </a:r>
          <a:endParaRPr lang="en-US" sz="1100"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6718298F-018D-4646-8F4B-423FC92EB78F}">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Test scenarios</a:t>
          </a:r>
          <a:endParaRPr lang="en-US" sz="1100" dirty="0"/>
        </a:p>
      </dgm:t>
    </dgm:pt>
    <dgm:pt modelId="{FE761AB0-DBF2-4371-9490-D2DF304FC5A2}" type="parTrans" cxnId="{2E5E6C49-31FB-478A-934B-95C3829A9BD7}">
      <dgm:prSet/>
      <dgm:spPr/>
      <dgm:t>
        <a:bodyPr/>
        <a:lstStyle/>
        <a:p>
          <a:endParaRPr lang="en-US"/>
        </a:p>
      </dgm:t>
    </dgm:pt>
    <dgm:pt modelId="{79361D36-ABED-474E-A89C-0FEA0686553E}" type="sibTrans" cxnId="{2E5E6C49-31FB-478A-934B-95C3829A9BD7}">
      <dgm:prSet/>
      <dgm:spPr/>
      <dgm:t>
        <a:bodyPr/>
        <a:lstStyle/>
        <a:p>
          <a:endParaRPr lang="en-US"/>
        </a:p>
      </dgm:t>
    </dgm:pt>
    <dgm:pt modelId="{78F545AD-FEC9-4D5E-AB43-5EB84760E6EB}">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Discussions</a:t>
          </a:r>
          <a:endParaRPr lang="en-US" sz="1100" dirty="0"/>
        </a:p>
      </dgm:t>
    </dgm:pt>
    <dgm:pt modelId="{0C30B17A-8897-43DC-87EF-D43F9F01D654}" type="parTrans" cxnId="{FE0B3586-C9E7-4A67-BF11-4369C399CB5A}">
      <dgm:prSet/>
      <dgm:spPr/>
      <dgm:t>
        <a:bodyPr/>
        <a:lstStyle/>
        <a:p>
          <a:endParaRPr lang="en-US"/>
        </a:p>
      </dgm:t>
    </dgm:pt>
    <dgm:pt modelId="{9EAE2FEB-7077-4CF8-9BE2-547617C3F69E}" type="sibTrans" cxnId="{FE0B3586-C9E7-4A67-BF11-4369C399CB5A}">
      <dgm:prSet/>
      <dgm:spPr/>
      <dgm:t>
        <a:bodyPr/>
        <a:lstStyle/>
        <a:p>
          <a:endParaRPr lang="en-US"/>
        </a:p>
      </dgm:t>
    </dgm:pt>
    <dgm:pt modelId="{E8BD65C2-3A5B-4085-9B42-B00F17B9759F}">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Impact analysis</a:t>
          </a:r>
          <a:endParaRPr lang="en-US" sz="1100" dirty="0"/>
        </a:p>
      </dgm:t>
    </dgm:pt>
    <dgm:pt modelId="{B5C53A8C-AAE1-4D1E-B7EE-89DEEF0A1CA5}" type="parTrans" cxnId="{B782AEBD-1BF5-441F-BAE6-C165853AA01C}">
      <dgm:prSet/>
      <dgm:spPr/>
      <dgm:t>
        <a:bodyPr/>
        <a:lstStyle/>
        <a:p>
          <a:endParaRPr lang="en-US"/>
        </a:p>
      </dgm:t>
    </dgm:pt>
    <dgm:pt modelId="{809B7710-D487-4A40-9773-99BFF4BFA992}" type="sibTrans" cxnId="{B782AEBD-1BF5-441F-BAE6-C165853AA01C}">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custLinFactNeighborX="3428" custLinFactNeighborY="-35981">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3FAFC543-4BB0-4E14-AF39-94011BFA718C}" srcId="{179C3A71-5A2D-479F-A5E8-393F4FECB10D}" destId="{F485E7CF-2BF0-4B96-8318-06BD6CAB9374}" srcOrd="0" destOrd="0" parTransId="{A218649F-FDF3-43AC-91D6-F29E785D3ED3}" sibTransId="{140B4FB9-389C-4DF9-A8EA-6651915EC65C}"/>
    <dgm:cxn modelId="{1FE2092F-2467-497E-9C75-4ED7A2BDA41E}" type="presOf" srcId="{6718298F-018D-4646-8F4B-423FC92EB78F}" destId="{93D9C83D-759B-47C6-862D-F1C4F58901A1}" srcOrd="0" destOrd="1" presId="urn:microsoft.com/office/officeart/2005/8/layout/hList1"/>
    <dgm:cxn modelId="{2E5E6C49-31FB-478A-934B-95C3829A9BD7}" srcId="{179C3A71-5A2D-479F-A5E8-393F4FECB10D}" destId="{6718298F-018D-4646-8F4B-423FC92EB78F}" srcOrd="1" destOrd="0" parTransId="{FE761AB0-DBF2-4371-9490-D2DF304FC5A2}" sibTransId="{79361D36-ABED-474E-A89C-0FEA0686553E}"/>
    <dgm:cxn modelId="{FE0B3586-C9E7-4A67-BF11-4369C399CB5A}" srcId="{179C3A71-5A2D-479F-A5E8-393F4FECB10D}" destId="{78F545AD-FEC9-4D5E-AB43-5EB84760E6EB}" srcOrd="2" destOrd="0" parTransId="{0C30B17A-8897-43DC-87EF-D43F9F01D654}" sibTransId="{9EAE2FEB-7077-4CF8-9BE2-547617C3F69E}"/>
    <dgm:cxn modelId="{F31D14D0-DC04-4CB8-BDAB-48D0F870B56E}" srcId="{CF384C5A-00C6-4D83-85F4-38E9DF804FDB}" destId="{179C3A71-5A2D-479F-A5E8-393F4FECB10D}" srcOrd="0" destOrd="0" parTransId="{F57177BC-8118-4A84-AB75-7812DA2DB4A9}" sibTransId="{22A2D10C-3789-49DD-90A3-81CCCF2C883C}"/>
    <dgm:cxn modelId="{76D86D19-1874-45A5-8AB9-4B9E7D17667D}" type="presOf" srcId="{CF384C5A-00C6-4D83-85F4-38E9DF804FDB}" destId="{71D3D8CB-97D5-49B9-AB72-5309339EACC3}" srcOrd="0" destOrd="0" presId="urn:microsoft.com/office/officeart/2005/8/layout/hList1"/>
    <dgm:cxn modelId="{B95ED5F8-3CB0-458E-A46C-F9D540F71A1D}" type="presOf" srcId="{179C3A71-5A2D-479F-A5E8-393F4FECB10D}" destId="{9F610744-7E8C-486F-8E5C-2104901C2CDD}" srcOrd="0" destOrd="0" presId="urn:microsoft.com/office/officeart/2005/8/layout/hList1"/>
    <dgm:cxn modelId="{74C9E193-B3B7-4F8C-BF0C-D143DD17739B}" type="presOf" srcId="{F485E7CF-2BF0-4B96-8318-06BD6CAB9374}" destId="{93D9C83D-759B-47C6-862D-F1C4F58901A1}" srcOrd="0" destOrd="0" presId="urn:microsoft.com/office/officeart/2005/8/layout/hList1"/>
    <dgm:cxn modelId="{B782AEBD-1BF5-441F-BAE6-C165853AA01C}" srcId="{179C3A71-5A2D-479F-A5E8-393F4FECB10D}" destId="{E8BD65C2-3A5B-4085-9B42-B00F17B9759F}" srcOrd="3" destOrd="0" parTransId="{B5C53A8C-AAE1-4D1E-B7EE-89DEEF0A1CA5}" sibTransId="{809B7710-D487-4A40-9773-99BFF4BFA992}"/>
    <dgm:cxn modelId="{CA9DC312-440D-44AA-B4BC-1226D048A5EA}" type="presOf" srcId="{E8BD65C2-3A5B-4085-9B42-B00F17B9759F}" destId="{93D9C83D-759B-47C6-862D-F1C4F58901A1}" srcOrd="0" destOrd="3" presId="urn:microsoft.com/office/officeart/2005/8/layout/hList1"/>
    <dgm:cxn modelId="{544A0470-7637-471B-BD3F-3B2E99FE398F}" type="presOf" srcId="{78F545AD-FEC9-4D5E-AB43-5EB84760E6EB}" destId="{93D9C83D-759B-47C6-862D-F1C4F58901A1}" srcOrd="0" destOrd="2" presId="urn:microsoft.com/office/officeart/2005/8/layout/hList1"/>
    <dgm:cxn modelId="{A967ECB7-53FC-4C2A-B59A-330B9D6D878D}" type="presParOf" srcId="{71D3D8CB-97D5-49B9-AB72-5309339EACC3}" destId="{8A03F874-FD80-4F57-987A-00D51E47D025}" srcOrd="0" destOrd="0" presId="urn:microsoft.com/office/officeart/2005/8/layout/hList1"/>
    <dgm:cxn modelId="{D9D6D964-BE6A-4C73-8787-9482CCA34971}" type="presParOf" srcId="{8A03F874-FD80-4F57-987A-00D51E47D025}" destId="{9F610744-7E8C-486F-8E5C-2104901C2CDD}" srcOrd="0" destOrd="0" presId="urn:microsoft.com/office/officeart/2005/8/layout/hList1"/>
    <dgm:cxn modelId="{17CF2E38-AB21-49D6-9B92-8368D9E3795A}"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LLD</a:t>
          </a:r>
          <a:endParaRPr lang="en-US" sz="1200" b="1" dirty="0">
            <a:latin typeface="+mj-lt"/>
          </a:endParaRP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Low Level Document (LLD)</a:t>
          </a:r>
          <a:endParaRPr lang="en-US" sz="1100"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BD0F12E3-EFD5-4E86-9E53-B728C30CF633}">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Reverse KT</a:t>
          </a:r>
          <a:endParaRPr lang="en-US" sz="1100" dirty="0"/>
        </a:p>
      </dgm:t>
    </dgm:pt>
    <dgm:pt modelId="{B0670F2C-5577-4FAE-A5AC-23D1A93ACF19}" type="parTrans" cxnId="{0B8A6982-27F0-4602-8588-F119B7966808}">
      <dgm:prSet/>
      <dgm:spPr/>
      <dgm:t>
        <a:bodyPr/>
        <a:lstStyle/>
        <a:p>
          <a:endParaRPr lang="en-US"/>
        </a:p>
      </dgm:t>
    </dgm:pt>
    <dgm:pt modelId="{3AE31574-1F9F-4E5D-AECE-BCB409FA45E1}" type="sibTrans" cxnId="{0B8A6982-27F0-4602-8588-F119B7966808}">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3FAFC543-4BB0-4E14-AF39-94011BFA718C}" srcId="{179C3A71-5A2D-479F-A5E8-393F4FECB10D}" destId="{F485E7CF-2BF0-4B96-8318-06BD6CAB9374}" srcOrd="0" destOrd="0" parTransId="{A218649F-FDF3-43AC-91D6-F29E785D3ED3}" sibTransId="{140B4FB9-389C-4DF9-A8EA-6651915EC65C}"/>
    <dgm:cxn modelId="{242B0D1F-AE80-4802-A0B0-246EDF277F79}" type="presOf" srcId="{CF384C5A-00C6-4D83-85F4-38E9DF804FDB}" destId="{71D3D8CB-97D5-49B9-AB72-5309339EACC3}" srcOrd="0" destOrd="0" presId="urn:microsoft.com/office/officeart/2005/8/layout/hList1"/>
    <dgm:cxn modelId="{F31D14D0-DC04-4CB8-BDAB-48D0F870B56E}" srcId="{CF384C5A-00C6-4D83-85F4-38E9DF804FDB}" destId="{179C3A71-5A2D-479F-A5E8-393F4FECB10D}" srcOrd="0" destOrd="0" parTransId="{F57177BC-8118-4A84-AB75-7812DA2DB4A9}" sibTransId="{22A2D10C-3789-49DD-90A3-81CCCF2C883C}"/>
    <dgm:cxn modelId="{0B8A6982-27F0-4602-8588-F119B7966808}" srcId="{179C3A71-5A2D-479F-A5E8-393F4FECB10D}" destId="{BD0F12E3-EFD5-4E86-9E53-B728C30CF633}" srcOrd="1" destOrd="0" parTransId="{B0670F2C-5577-4FAE-A5AC-23D1A93ACF19}" sibTransId="{3AE31574-1F9F-4E5D-AECE-BCB409FA45E1}"/>
    <dgm:cxn modelId="{D97333B8-F45F-4B24-AC75-340E719EDB6C}" type="presOf" srcId="{F485E7CF-2BF0-4B96-8318-06BD6CAB9374}" destId="{93D9C83D-759B-47C6-862D-F1C4F58901A1}" srcOrd="0" destOrd="0" presId="urn:microsoft.com/office/officeart/2005/8/layout/hList1"/>
    <dgm:cxn modelId="{0C8FB8C9-03B9-4D9C-8196-0455919CD7E7}" type="presOf" srcId="{BD0F12E3-EFD5-4E86-9E53-B728C30CF633}" destId="{93D9C83D-759B-47C6-862D-F1C4F58901A1}" srcOrd="0" destOrd="1" presId="urn:microsoft.com/office/officeart/2005/8/layout/hList1"/>
    <dgm:cxn modelId="{880434F9-3983-4FB2-9AE9-0A4278817EB6}" type="presOf" srcId="{179C3A71-5A2D-479F-A5E8-393F4FECB10D}" destId="{9F610744-7E8C-486F-8E5C-2104901C2CDD}" srcOrd="0" destOrd="0" presId="urn:microsoft.com/office/officeart/2005/8/layout/hList1"/>
    <dgm:cxn modelId="{09AEAA4D-5C42-47C9-BA1A-C7CAEAECF6AC}" type="presParOf" srcId="{71D3D8CB-97D5-49B9-AB72-5309339EACC3}" destId="{8A03F874-FD80-4F57-987A-00D51E47D025}" srcOrd="0" destOrd="0" presId="urn:microsoft.com/office/officeart/2005/8/layout/hList1"/>
    <dgm:cxn modelId="{F6D2D621-B278-43B0-B737-6C0957C880B0}" type="presParOf" srcId="{8A03F874-FD80-4F57-987A-00D51E47D025}" destId="{9F610744-7E8C-486F-8E5C-2104901C2CDD}" srcOrd="0" destOrd="0" presId="urn:microsoft.com/office/officeart/2005/8/layout/hList1"/>
    <dgm:cxn modelId="{80B00634-0234-4692-B30F-BAFF3414097E}"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2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Developmen</a:t>
          </a:r>
          <a:r>
            <a:rPr lang="en-US" sz="1200" b="1" dirty="0" smtClean="0"/>
            <a:t>t</a:t>
          </a:r>
          <a:endParaRPr lang="en-US" sz="1200" b="1" dirty="0"/>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 Test cases</a:t>
          </a:r>
          <a:endParaRPr lang="en-US" sz="1100"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6718298F-018D-4646-8F4B-423FC92EB78F}">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Functional review</a:t>
          </a:r>
          <a:endParaRPr lang="en-US" sz="1100" dirty="0"/>
        </a:p>
      </dgm:t>
    </dgm:pt>
    <dgm:pt modelId="{FE761AB0-DBF2-4371-9490-D2DF304FC5A2}" type="parTrans" cxnId="{2E5E6C49-31FB-478A-934B-95C3829A9BD7}">
      <dgm:prSet/>
      <dgm:spPr/>
      <dgm:t>
        <a:bodyPr/>
        <a:lstStyle/>
        <a:p>
          <a:endParaRPr lang="en-US"/>
        </a:p>
      </dgm:t>
    </dgm:pt>
    <dgm:pt modelId="{79361D36-ABED-474E-A89C-0FEA0686553E}" type="sibTrans" cxnId="{2E5E6C49-31FB-478A-934B-95C3829A9BD7}">
      <dgm:prSet/>
      <dgm:spPr/>
      <dgm:t>
        <a:bodyPr/>
        <a:lstStyle/>
        <a:p>
          <a:endParaRPr lang="en-US"/>
        </a:p>
      </dgm:t>
    </dgm:pt>
    <dgm:pt modelId="{20F45010-0BCD-4CCD-ADF5-58E9B348ACD6}">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000" dirty="0" smtClean="0"/>
            <a:t> </a:t>
          </a:r>
          <a:r>
            <a:rPr lang="en-US" sz="1100" dirty="0" smtClean="0"/>
            <a:t>Estimates</a:t>
          </a:r>
          <a:endParaRPr lang="en-US" sz="1100" dirty="0"/>
        </a:p>
      </dgm:t>
    </dgm:pt>
    <dgm:pt modelId="{0BCEAF50-078E-4420-9FFE-216BA3FFE3E3}" type="parTrans" cxnId="{E829A090-1272-49AF-8121-F611F6841441}">
      <dgm:prSet/>
      <dgm:spPr/>
      <dgm:t>
        <a:bodyPr/>
        <a:lstStyle/>
        <a:p>
          <a:endParaRPr lang="en-US"/>
        </a:p>
      </dgm:t>
    </dgm:pt>
    <dgm:pt modelId="{E112B108-6BBC-4B00-AE55-9418F472C4D7}" type="sibTrans" cxnId="{E829A090-1272-49AF-8121-F611F6841441}">
      <dgm:prSet/>
      <dgm:spPr/>
      <dgm:t>
        <a:bodyPr/>
        <a:lstStyle/>
        <a:p>
          <a:endParaRPr lang="en-US"/>
        </a:p>
      </dgm:t>
    </dgm:pt>
    <dgm:pt modelId="{BC9E3193-2BCD-42F9-84D2-DE875E1DC23B}">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 Coding &amp; Junits</a:t>
          </a:r>
          <a:endParaRPr lang="en-US" sz="1100" dirty="0"/>
        </a:p>
      </dgm:t>
    </dgm:pt>
    <dgm:pt modelId="{B57A589A-7ABF-4BDA-92DE-A9298B17E65A}" type="parTrans" cxnId="{AF129969-35C9-4132-8391-52146C21D447}">
      <dgm:prSet/>
      <dgm:spPr/>
      <dgm:t>
        <a:bodyPr/>
        <a:lstStyle/>
        <a:p>
          <a:endParaRPr lang="en-US"/>
        </a:p>
      </dgm:t>
    </dgm:pt>
    <dgm:pt modelId="{AA164899-BF87-4133-B47C-287166F64544}" type="sibTrans" cxnId="{AF129969-35C9-4132-8391-52146C21D447}">
      <dgm:prSet/>
      <dgm:spPr/>
      <dgm:t>
        <a:bodyPr/>
        <a:lstStyle/>
        <a:p>
          <a:endParaRPr lang="en-US"/>
        </a:p>
      </dgm:t>
    </dgm:pt>
    <dgm:pt modelId="{F3FAEF9A-3560-4B50-AA63-10D08BAFF0A3}">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 Planning &amp; tracking</a:t>
          </a:r>
          <a:endParaRPr lang="en-US" sz="1100" dirty="0"/>
        </a:p>
      </dgm:t>
    </dgm:pt>
    <dgm:pt modelId="{EC3888C4-34AF-40D7-9897-AC289A977E26}" type="parTrans" cxnId="{02B71D47-012B-43B2-B234-94FB86CAC50B}">
      <dgm:prSet/>
      <dgm:spPr/>
      <dgm:t>
        <a:bodyPr/>
        <a:lstStyle/>
        <a:p>
          <a:endParaRPr lang="en-US"/>
        </a:p>
      </dgm:t>
    </dgm:pt>
    <dgm:pt modelId="{E6E393F8-34F2-414E-8E23-4EE0CF397AA9}" type="sibTrans" cxnId="{02B71D47-012B-43B2-B234-94FB86CAC50B}">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custLinFactNeighborX="-1419" custLinFactNeighborY="8834">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AF129969-35C9-4132-8391-52146C21D447}" srcId="{179C3A71-5A2D-479F-A5E8-393F4FECB10D}" destId="{BC9E3193-2BCD-42F9-84D2-DE875E1DC23B}" srcOrd="1" destOrd="0" parTransId="{B57A589A-7ABF-4BDA-92DE-A9298B17E65A}" sibTransId="{AA164899-BF87-4133-B47C-287166F64544}"/>
    <dgm:cxn modelId="{3FAFC543-4BB0-4E14-AF39-94011BFA718C}" srcId="{179C3A71-5A2D-479F-A5E8-393F4FECB10D}" destId="{F485E7CF-2BF0-4B96-8318-06BD6CAB9374}" srcOrd="2" destOrd="0" parTransId="{A218649F-FDF3-43AC-91D6-F29E785D3ED3}" sibTransId="{140B4FB9-389C-4DF9-A8EA-6651915EC65C}"/>
    <dgm:cxn modelId="{2E5E6C49-31FB-478A-934B-95C3829A9BD7}" srcId="{179C3A71-5A2D-479F-A5E8-393F4FECB10D}" destId="{6718298F-018D-4646-8F4B-423FC92EB78F}" srcOrd="3" destOrd="0" parTransId="{FE761AB0-DBF2-4371-9490-D2DF304FC5A2}" sibTransId="{79361D36-ABED-474E-A89C-0FEA0686553E}"/>
    <dgm:cxn modelId="{7323E340-6F3F-48B9-A5C6-8D3987B2681E}" type="presOf" srcId="{CF384C5A-00C6-4D83-85F4-38E9DF804FDB}" destId="{71D3D8CB-97D5-49B9-AB72-5309339EACC3}" srcOrd="0" destOrd="0" presId="urn:microsoft.com/office/officeart/2005/8/layout/hList1"/>
    <dgm:cxn modelId="{DE4037ED-154F-4944-9278-C5F429DF895C}" type="presOf" srcId="{F485E7CF-2BF0-4B96-8318-06BD6CAB9374}" destId="{93D9C83D-759B-47C6-862D-F1C4F58901A1}" srcOrd="0" destOrd="2" presId="urn:microsoft.com/office/officeart/2005/8/layout/hList1"/>
    <dgm:cxn modelId="{94503A3C-3139-47B5-B371-18B8F9A7FD99}" type="presOf" srcId="{20F45010-0BCD-4CCD-ADF5-58E9B348ACD6}" destId="{93D9C83D-759B-47C6-862D-F1C4F58901A1}" srcOrd="0" destOrd="0" presId="urn:microsoft.com/office/officeart/2005/8/layout/hList1"/>
    <dgm:cxn modelId="{F31D14D0-DC04-4CB8-BDAB-48D0F870B56E}" srcId="{CF384C5A-00C6-4D83-85F4-38E9DF804FDB}" destId="{179C3A71-5A2D-479F-A5E8-393F4FECB10D}" srcOrd="0" destOrd="0" parTransId="{F57177BC-8118-4A84-AB75-7812DA2DB4A9}" sibTransId="{22A2D10C-3789-49DD-90A3-81CCCF2C883C}"/>
    <dgm:cxn modelId="{E1124DFF-92C3-4D30-86CA-7685FE44D2E0}" type="presOf" srcId="{6718298F-018D-4646-8F4B-423FC92EB78F}" destId="{93D9C83D-759B-47C6-862D-F1C4F58901A1}" srcOrd="0" destOrd="3" presId="urn:microsoft.com/office/officeart/2005/8/layout/hList1"/>
    <dgm:cxn modelId="{53F81040-CE44-4141-A9CD-F3074F501228}" type="presOf" srcId="{F3FAEF9A-3560-4B50-AA63-10D08BAFF0A3}" destId="{93D9C83D-759B-47C6-862D-F1C4F58901A1}" srcOrd="0" destOrd="4" presId="urn:microsoft.com/office/officeart/2005/8/layout/hList1"/>
    <dgm:cxn modelId="{E829A090-1272-49AF-8121-F611F6841441}" srcId="{179C3A71-5A2D-479F-A5E8-393F4FECB10D}" destId="{20F45010-0BCD-4CCD-ADF5-58E9B348ACD6}" srcOrd="0" destOrd="0" parTransId="{0BCEAF50-078E-4420-9FFE-216BA3FFE3E3}" sibTransId="{E112B108-6BBC-4B00-AE55-9418F472C4D7}"/>
    <dgm:cxn modelId="{66841F5F-2391-43EE-AD78-5B7EA24397E3}" type="presOf" srcId="{179C3A71-5A2D-479F-A5E8-393F4FECB10D}" destId="{9F610744-7E8C-486F-8E5C-2104901C2CDD}" srcOrd="0" destOrd="0" presId="urn:microsoft.com/office/officeart/2005/8/layout/hList1"/>
    <dgm:cxn modelId="{02B71D47-012B-43B2-B234-94FB86CAC50B}" srcId="{179C3A71-5A2D-479F-A5E8-393F4FECB10D}" destId="{F3FAEF9A-3560-4B50-AA63-10D08BAFF0A3}" srcOrd="4" destOrd="0" parTransId="{EC3888C4-34AF-40D7-9897-AC289A977E26}" sibTransId="{E6E393F8-34F2-414E-8E23-4EE0CF397AA9}"/>
    <dgm:cxn modelId="{9C4EFC94-93E8-4F96-9EF0-F895FBAF6BC2}" type="presOf" srcId="{BC9E3193-2BCD-42F9-84D2-DE875E1DC23B}" destId="{93D9C83D-759B-47C6-862D-F1C4F58901A1}" srcOrd="0" destOrd="1" presId="urn:microsoft.com/office/officeart/2005/8/layout/hList1"/>
    <dgm:cxn modelId="{7B6925BF-2317-4E3B-9D03-F88DB87B77AA}" type="presParOf" srcId="{71D3D8CB-97D5-49B9-AB72-5309339EACC3}" destId="{8A03F874-FD80-4F57-987A-00D51E47D025}" srcOrd="0" destOrd="0" presId="urn:microsoft.com/office/officeart/2005/8/layout/hList1"/>
    <dgm:cxn modelId="{6EBE27DC-C305-4D81-BFD0-BA367E942241}" type="presParOf" srcId="{8A03F874-FD80-4F57-987A-00D51E47D025}" destId="{9F610744-7E8C-486F-8E5C-2104901C2CDD}" srcOrd="0" destOrd="0" presId="urn:microsoft.com/office/officeart/2005/8/layout/hList1"/>
    <dgm:cxn modelId="{85FFDDCB-BD0C-410C-B722-3824B741D86E}"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3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Code release</a:t>
          </a:r>
          <a:endParaRPr lang="en-US" sz="1200" b="1" dirty="0">
            <a:latin typeface="+mj-lt"/>
          </a:endParaRP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F485E7CF-2BF0-4B96-8318-06BD6CAB9374}">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Source code</a:t>
          </a:r>
          <a:endParaRPr lang="en-US" sz="1100" dirty="0"/>
        </a:p>
      </dgm:t>
    </dgm:pt>
    <dgm:pt modelId="{A218649F-FDF3-43AC-91D6-F29E785D3ED3}" type="parTrans" cxnId="{3FAFC543-4BB0-4E14-AF39-94011BFA718C}">
      <dgm:prSet/>
      <dgm:spPr/>
      <dgm:t>
        <a:bodyPr/>
        <a:lstStyle/>
        <a:p>
          <a:endParaRPr lang="en-US"/>
        </a:p>
      </dgm:t>
    </dgm:pt>
    <dgm:pt modelId="{140B4FB9-389C-4DF9-A8EA-6651915EC65C}" type="sibTrans" cxnId="{3FAFC543-4BB0-4E14-AF39-94011BFA718C}">
      <dgm:prSet/>
      <dgm:spPr/>
      <dgm:t>
        <a:bodyPr/>
        <a:lstStyle/>
        <a:p>
          <a:endParaRPr lang="en-US"/>
        </a:p>
      </dgm:t>
    </dgm:pt>
    <dgm:pt modelId="{2A2DA52E-86F7-4923-B528-E48A82010DA8}">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Test cases</a:t>
          </a:r>
          <a:endParaRPr lang="en-US" sz="1100" dirty="0"/>
        </a:p>
      </dgm:t>
    </dgm:pt>
    <dgm:pt modelId="{3C564A38-0A52-4331-A68F-26B0B3CF0F93}" type="parTrans" cxnId="{D65E1A8C-676E-4397-8CC0-A38AF6237FFA}">
      <dgm:prSet/>
      <dgm:spPr/>
      <dgm:t>
        <a:bodyPr/>
        <a:lstStyle/>
        <a:p>
          <a:endParaRPr lang="en-US"/>
        </a:p>
      </dgm:t>
    </dgm:pt>
    <dgm:pt modelId="{8DA908B4-445F-439D-A45C-88864C48F0F7}" type="sibTrans" cxnId="{D65E1A8C-676E-4397-8CC0-A38AF6237FFA}">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3FAFC543-4BB0-4E14-AF39-94011BFA718C}" srcId="{179C3A71-5A2D-479F-A5E8-393F4FECB10D}" destId="{F485E7CF-2BF0-4B96-8318-06BD6CAB9374}" srcOrd="0" destOrd="0" parTransId="{A218649F-FDF3-43AC-91D6-F29E785D3ED3}" sibTransId="{140B4FB9-389C-4DF9-A8EA-6651915EC65C}"/>
    <dgm:cxn modelId="{F31D14D0-DC04-4CB8-BDAB-48D0F870B56E}" srcId="{CF384C5A-00C6-4D83-85F4-38E9DF804FDB}" destId="{179C3A71-5A2D-479F-A5E8-393F4FECB10D}" srcOrd="0" destOrd="0" parTransId="{F57177BC-8118-4A84-AB75-7812DA2DB4A9}" sibTransId="{22A2D10C-3789-49DD-90A3-81CCCF2C883C}"/>
    <dgm:cxn modelId="{344FA627-33BF-4DC3-967D-58EB93026763}" type="presOf" srcId="{CF384C5A-00C6-4D83-85F4-38E9DF804FDB}" destId="{71D3D8CB-97D5-49B9-AB72-5309339EACC3}" srcOrd="0" destOrd="0" presId="urn:microsoft.com/office/officeart/2005/8/layout/hList1"/>
    <dgm:cxn modelId="{D65E1A8C-676E-4397-8CC0-A38AF6237FFA}" srcId="{179C3A71-5A2D-479F-A5E8-393F4FECB10D}" destId="{2A2DA52E-86F7-4923-B528-E48A82010DA8}" srcOrd="1" destOrd="0" parTransId="{3C564A38-0A52-4331-A68F-26B0B3CF0F93}" sibTransId="{8DA908B4-445F-439D-A45C-88864C48F0F7}"/>
    <dgm:cxn modelId="{0B6E450E-0D2A-465D-8870-34CA2D42B56A}" type="presOf" srcId="{2A2DA52E-86F7-4923-B528-E48A82010DA8}" destId="{93D9C83D-759B-47C6-862D-F1C4F58901A1}" srcOrd="0" destOrd="1" presId="urn:microsoft.com/office/officeart/2005/8/layout/hList1"/>
    <dgm:cxn modelId="{600ECE3A-5733-45B4-9042-EAB49B8CB6A4}" type="presOf" srcId="{F485E7CF-2BF0-4B96-8318-06BD6CAB9374}" destId="{93D9C83D-759B-47C6-862D-F1C4F58901A1}" srcOrd="0" destOrd="0" presId="urn:microsoft.com/office/officeart/2005/8/layout/hList1"/>
    <dgm:cxn modelId="{B35B7A35-C89C-4AB5-AF59-3F77FE4ED7B8}" type="presOf" srcId="{179C3A71-5A2D-479F-A5E8-393F4FECB10D}" destId="{9F610744-7E8C-486F-8E5C-2104901C2CDD}" srcOrd="0" destOrd="0" presId="urn:microsoft.com/office/officeart/2005/8/layout/hList1"/>
    <dgm:cxn modelId="{73DBC9CB-C2A8-4332-B882-AC916630F3A4}" type="presParOf" srcId="{71D3D8CB-97D5-49B9-AB72-5309339EACC3}" destId="{8A03F874-FD80-4F57-987A-00D51E47D025}" srcOrd="0" destOrd="0" presId="urn:microsoft.com/office/officeart/2005/8/layout/hList1"/>
    <dgm:cxn modelId="{6839BAD1-D8EB-4921-8BE8-A0D5BBEDDF53}" type="presParOf" srcId="{8A03F874-FD80-4F57-987A-00D51E47D025}" destId="{9F610744-7E8C-486F-8E5C-2104901C2CDD}" srcOrd="0" destOrd="0" presId="urn:microsoft.com/office/officeart/2005/8/layout/hList1"/>
    <dgm:cxn modelId="{61DBFDD8-AA7B-46C3-BFB2-0A5E9FCFE9EF}"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3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F384C5A-00C6-4D83-85F4-38E9DF804FD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79C3A71-5A2D-479F-A5E8-393F4FECB10D}">
      <dgm:prSet phldrT="[Text]" custT="1"/>
      <dgm:spPr>
        <a:solidFill>
          <a:srgbClr val="0070C0"/>
        </a:solidFill>
        <a:ln>
          <a:solidFill>
            <a:srgbClr val="0070C0"/>
          </a:solidFill>
        </a:ln>
      </dgm:spPr>
      <dgm:t>
        <a:bodyPr/>
        <a:lstStyle/>
        <a:p>
          <a:r>
            <a:rPr lang="en-US" sz="1200" b="1" dirty="0" smtClean="0">
              <a:latin typeface="+mj-lt"/>
            </a:rPr>
            <a:t>TC validations</a:t>
          </a:r>
          <a:endParaRPr lang="en-US" sz="1200" b="1" dirty="0">
            <a:latin typeface="+mj-lt"/>
          </a:endParaRPr>
        </a:p>
      </dgm:t>
    </dgm:pt>
    <dgm:pt modelId="{F57177BC-8118-4A84-AB75-7812DA2DB4A9}" type="parTrans" cxnId="{F31D14D0-DC04-4CB8-BDAB-48D0F870B56E}">
      <dgm:prSet/>
      <dgm:spPr/>
      <dgm:t>
        <a:bodyPr/>
        <a:lstStyle/>
        <a:p>
          <a:endParaRPr lang="en-US"/>
        </a:p>
      </dgm:t>
    </dgm:pt>
    <dgm:pt modelId="{22A2D10C-3789-49DD-90A3-81CCCF2C883C}" type="sibTrans" cxnId="{F31D14D0-DC04-4CB8-BDAB-48D0F870B56E}">
      <dgm:prSet/>
      <dgm:spPr/>
      <dgm:t>
        <a:bodyPr/>
        <a:lstStyle/>
        <a:p>
          <a:endParaRPr lang="en-US"/>
        </a:p>
      </dgm:t>
    </dgm:pt>
    <dgm:pt modelId="{20F45010-0BCD-4CCD-ADF5-58E9B348ACD6}">
      <dgm:prSet phldrT="[Text]" custT="1"/>
      <dgm:spPr>
        <a:solidFill>
          <a:schemeClr val="bg2">
            <a:lumMod val="20000"/>
            <a:lumOff val="80000"/>
            <a:alpha val="90000"/>
          </a:schemeClr>
        </a:solidFill>
        <a:ln>
          <a:solidFill>
            <a:schemeClr val="tx1">
              <a:lumMod val="50000"/>
              <a:lumOff val="50000"/>
              <a:alpha val="90000"/>
            </a:schemeClr>
          </a:solidFill>
        </a:ln>
      </dgm:spPr>
      <dgm:t>
        <a:bodyPr/>
        <a:lstStyle/>
        <a:p>
          <a:r>
            <a:rPr lang="en-US" sz="1100" dirty="0" smtClean="0"/>
            <a:t>SIT, Expert, Ad-hoc testing</a:t>
          </a:r>
          <a:endParaRPr lang="en-US" sz="1100" dirty="0"/>
        </a:p>
      </dgm:t>
    </dgm:pt>
    <dgm:pt modelId="{0BCEAF50-078E-4420-9FFE-216BA3FFE3E3}" type="parTrans" cxnId="{E829A090-1272-49AF-8121-F611F6841441}">
      <dgm:prSet/>
      <dgm:spPr/>
      <dgm:t>
        <a:bodyPr/>
        <a:lstStyle/>
        <a:p>
          <a:endParaRPr lang="en-US"/>
        </a:p>
      </dgm:t>
    </dgm:pt>
    <dgm:pt modelId="{E112B108-6BBC-4B00-AE55-9418F472C4D7}" type="sibTrans" cxnId="{E829A090-1272-49AF-8121-F611F6841441}">
      <dgm:prSet/>
      <dgm:spPr/>
      <dgm:t>
        <a:bodyPr/>
        <a:lstStyle/>
        <a:p>
          <a:endParaRPr lang="en-US"/>
        </a:p>
      </dgm:t>
    </dgm:pt>
    <dgm:pt modelId="{71D3D8CB-97D5-49B9-AB72-5309339EACC3}" type="pres">
      <dgm:prSet presAssocID="{CF384C5A-00C6-4D83-85F4-38E9DF804FDB}" presName="Name0" presStyleCnt="0">
        <dgm:presLayoutVars>
          <dgm:dir/>
          <dgm:animLvl val="lvl"/>
          <dgm:resizeHandles val="exact"/>
        </dgm:presLayoutVars>
      </dgm:prSet>
      <dgm:spPr/>
      <dgm:t>
        <a:bodyPr/>
        <a:lstStyle/>
        <a:p>
          <a:endParaRPr lang="en-US"/>
        </a:p>
      </dgm:t>
    </dgm:pt>
    <dgm:pt modelId="{8A03F874-FD80-4F57-987A-00D51E47D025}" type="pres">
      <dgm:prSet presAssocID="{179C3A71-5A2D-479F-A5E8-393F4FECB10D}" presName="composite" presStyleCnt="0"/>
      <dgm:spPr/>
    </dgm:pt>
    <dgm:pt modelId="{9F610744-7E8C-486F-8E5C-2104901C2CDD}" type="pres">
      <dgm:prSet presAssocID="{179C3A71-5A2D-479F-A5E8-393F4FECB10D}" presName="parTx" presStyleLbl="alignNode1" presStyleIdx="0" presStyleCnt="1">
        <dgm:presLayoutVars>
          <dgm:chMax val="0"/>
          <dgm:chPref val="0"/>
          <dgm:bulletEnabled val="1"/>
        </dgm:presLayoutVars>
      </dgm:prSet>
      <dgm:spPr/>
      <dgm:t>
        <a:bodyPr/>
        <a:lstStyle/>
        <a:p>
          <a:endParaRPr lang="en-US"/>
        </a:p>
      </dgm:t>
    </dgm:pt>
    <dgm:pt modelId="{93D9C83D-759B-47C6-862D-F1C4F58901A1}" type="pres">
      <dgm:prSet presAssocID="{179C3A71-5A2D-479F-A5E8-393F4FECB10D}" presName="desTx" presStyleLbl="alignAccFollowNode1" presStyleIdx="0" presStyleCnt="1">
        <dgm:presLayoutVars>
          <dgm:bulletEnabled val="1"/>
        </dgm:presLayoutVars>
      </dgm:prSet>
      <dgm:spPr/>
      <dgm:t>
        <a:bodyPr/>
        <a:lstStyle/>
        <a:p>
          <a:endParaRPr lang="en-US"/>
        </a:p>
      </dgm:t>
    </dgm:pt>
  </dgm:ptLst>
  <dgm:cxnLst>
    <dgm:cxn modelId="{D41F8486-8255-4C44-AF47-E9E852381EF5}" type="presOf" srcId="{179C3A71-5A2D-479F-A5E8-393F4FECB10D}" destId="{9F610744-7E8C-486F-8E5C-2104901C2CDD}" srcOrd="0" destOrd="0" presId="urn:microsoft.com/office/officeart/2005/8/layout/hList1"/>
    <dgm:cxn modelId="{5137D45B-3E99-44ED-8FA9-89B990D5622B}" type="presOf" srcId="{CF384C5A-00C6-4D83-85F4-38E9DF804FDB}" destId="{71D3D8CB-97D5-49B9-AB72-5309339EACC3}" srcOrd="0" destOrd="0" presId="urn:microsoft.com/office/officeart/2005/8/layout/hList1"/>
    <dgm:cxn modelId="{F31D14D0-DC04-4CB8-BDAB-48D0F870B56E}" srcId="{CF384C5A-00C6-4D83-85F4-38E9DF804FDB}" destId="{179C3A71-5A2D-479F-A5E8-393F4FECB10D}" srcOrd="0" destOrd="0" parTransId="{F57177BC-8118-4A84-AB75-7812DA2DB4A9}" sibTransId="{22A2D10C-3789-49DD-90A3-81CCCF2C883C}"/>
    <dgm:cxn modelId="{E829A090-1272-49AF-8121-F611F6841441}" srcId="{179C3A71-5A2D-479F-A5E8-393F4FECB10D}" destId="{20F45010-0BCD-4CCD-ADF5-58E9B348ACD6}" srcOrd="0" destOrd="0" parTransId="{0BCEAF50-078E-4420-9FFE-216BA3FFE3E3}" sibTransId="{E112B108-6BBC-4B00-AE55-9418F472C4D7}"/>
    <dgm:cxn modelId="{F942B195-C8A9-41B5-88F7-535B6BEEA359}" type="presOf" srcId="{20F45010-0BCD-4CCD-ADF5-58E9B348ACD6}" destId="{93D9C83D-759B-47C6-862D-F1C4F58901A1}" srcOrd="0" destOrd="0" presId="urn:microsoft.com/office/officeart/2005/8/layout/hList1"/>
    <dgm:cxn modelId="{B5A67AD5-5EAC-4893-87A4-698400D8FCD6}" type="presParOf" srcId="{71D3D8CB-97D5-49B9-AB72-5309339EACC3}" destId="{8A03F874-FD80-4F57-987A-00D51E47D025}" srcOrd="0" destOrd="0" presId="urn:microsoft.com/office/officeart/2005/8/layout/hList1"/>
    <dgm:cxn modelId="{6AE394CA-3BA5-4D14-ABC8-DCD6E7F00757}" type="presParOf" srcId="{8A03F874-FD80-4F57-987A-00D51E47D025}" destId="{9F610744-7E8C-486F-8E5C-2104901C2CDD}" srcOrd="0" destOrd="0" presId="urn:microsoft.com/office/officeart/2005/8/layout/hList1"/>
    <dgm:cxn modelId="{CE949D91-B92E-4D17-8C05-7CFE7CF3487E}" type="presParOf" srcId="{8A03F874-FD80-4F57-987A-00D51E47D025}" destId="{93D9C83D-759B-47C6-862D-F1C4F58901A1}" srcOrd="1" destOrd="0" presId="urn:microsoft.com/office/officeart/2005/8/layout/hList1"/>
  </dgm:cxnLst>
  <dgm:bg/>
  <dgm:whole/>
  <dgm:extLst>
    <a:ext uri="http://schemas.microsoft.com/office/drawing/2008/diagram">
      <dsp:dataModelExt xmlns:dsp="http://schemas.microsoft.com/office/drawing/2008/diagram" xmlns="" relId="rId4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6C449C5-3DEA-40DF-8901-09CC1179005E}">
      <dsp:nvSpPr>
        <dsp:cNvPr id="0" name=""/>
        <dsp:cNvSpPr/>
      </dsp:nvSpPr>
      <dsp:spPr>
        <a:xfrm>
          <a:off x="3119966" y="0"/>
          <a:ext cx="3119966" cy="1545695"/>
        </a:xfrm>
        <a:prstGeom prst="trapezoid">
          <a:avLst>
            <a:gd name="adj" fmla="val 100924"/>
          </a:avLst>
        </a:prstGeom>
        <a:gradFill rotWithShape="0">
          <a:gsLst>
            <a:gs pos="0">
              <a:schemeClr val="accent5">
                <a:alpha val="90000"/>
                <a:hueOff val="0"/>
                <a:satOff val="0"/>
                <a:lumOff val="0"/>
                <a:alphaOff val="0"/>
                <a:shade val="51000"/>
                <a:satMod val="130000"/>
              </a:schemeClr>
            </a:gs>
            <a:gs pos="80000">
              <a:schemeClr val="accent5">
                <a:alpha val="90000"/>
                <a:hueOff val="0"/>
                <a:satOff val="0"/>
                <a:lumOff val="0"/>
                <a:alphaOff val="0"/>
                <a:shade val="93000"/>
                <a:satMod val="130000"/>
              </a:schemeClr>
            </a:gs>
            <a:gs pos="100000">
              <a:schemeClr val="accent5">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3660" tIns="73660" rIns="73660" bIns="73660" numCol="1" spcCol="1270" anchor="ctr" anchorCtr="0">
          <a:noAutofit/>
        </a:bodyPr>
        <a:lstStyle/>
        <a:p>
          <a:pPr lvl="0" algn="ctr" defTabSz="2578100">
            <a:lnSpc>
              <a:spcPct val="90000"/>
            </a:lnSpc>
            <a:spcBef>
              <a:spcPct val="0"/>
            </a:spcBef>
            <a:spcAft>
              <a:spcPct val="35000"/>
            </a:spcAft>
          </a:pPr>
          <a:r>
            <a:rPr lang="en-US" sz="5800" kern="1200" dirty="0" smtClean="0">
              <a:solidFill>
                <a:schemeClr val="bg1"/>
              </a:solidFill>
            </a:rPr>
            <a:t>HQ</a:t>
          </a:r>
          <a:endParaRPr lang="en-US" sz="5800" kern="1200" dirty="0">
            <a:solidFill>
              <a:schemeClr val="bg1"/>
            </a:solidFill>
          </a:endParaRPr>
        </a:p>
      </dsp:txBody>
      <dsp:txXfrm>
        <a:off x="3119966" y="0"/>
        <a:ext cx="3119966" cy="1545695"/>
      </dsp:txXfrm>
    </dsp:sp>
    <dsp:sp modelId="{A2428CD9-7808-4B33-8B76-85F74662F0BA}">
      <dsp:nvSpPr>
        <dsp:cNvPr id="0" name=""/>
        <dsp:cNvSpPr/>
      </dsp:nvSpPr>
      <dsp:spPr>
        <a:xfrm>
          <a:off x="1559983" y="1545696"/>
          <a:ext cx="6239933" cy="1545695"/>
        </a:xfrm>
        <a:prstGeom prst="trapezoid">
          <a:avLst>
            <a:gd name="adj" fmla="val 100924"/>
          </a:avLst>
        </a:prstGeom>
        <a:gradFill rotWithShape="0">
          <a:gsLst>
            <a:gs pos="0">
              <a:schemeClr val="accent5">
                <a:alpha val="90000"/>
                <a:hueOff val="0"/>
                <a:satOff val="0"/>
                <a:lumOff val="0"/>
                <a:alphaOff val="-20000"/>
                <a:shade val="51000"/>
                <a:satMod val="130000"/>
              </a:schemeClr>
            </a:gs>
            <a:gs pos="80000">
              <a:schemeClr val="accent5">
                <a:alpha val="90000"/>
                <a:hueOff val="0"/>
                <a:satOff val="0"/>
                <a:lumOff val="0"/>
                <a:alphaOff val="-20000"/>
                <a:shade val="93000"/>
                <a:satMod val="130000"/>
              </a:schemeClr>
            </a:gs>
            <a:gs pos="100000">
              <a:schemeClr val="accent5">
                <a:alpha val="90000"/>
                <a:hueOff val="0"/>
                <a:satOff val="0"/>
                <a:lumOff val="0"/>
                <a:alpha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3660" tIns="73660" rIns="73660" bIns="73660" numCol="1" spcCol="1270" anchor="ctr" anchorCtr="0">
          <a:noAutofit/>
        </a:bodyPr>
        <a:lstStyle/>
        <a:p>
          <a:pPr lvl="0" algn="ctr" defTabSz="2578100">
            <a:lnSpc>
              <a:spcPct val="90000"/>
            </a:lnSpc>
            <a:spcBef>
              <a:spcPct val="0"/>
            </a:spcBef>
            <a:spcAft>
              <a:spcPct val="35000"/>
            </a:spcAft>
          </a:pPr>
          <a:r>
            <a:rPr lang="en-US" sz="5800" kern="1200" dirty="0" smtClean="0">
              <a:solidFill>
                <a:schemeClr val="bg1"/>
              </a:solidFill>
            </a:rPr>
            <a:t>MPC</a:t>
          </a:r>
          <a:endParaRPr lang="en-US" sz="5800" kern="1200" dirty="0">
            <a:solidFill>
              <a:schemeClr val="bg1"/>
            </a:solidFill>
          </a:endParaRPr>
        </a:p>
      </dsp:txBody>
      <dsp:txXfrm>
        <a:off x="2651971" y="1545696"/>
        <a:ext cx="4055956" cy="1545695"/>
      </dsp:txXfrm>
    </dsp:sp>
    <dsp:sp modelId="{0FE95024-A58D-44AC-9A00-CE024FCBEB8F}">
      <dsp:nvSpPr>
        <dsp:cNvPr id="0" name=""/>
        <dsp:cNvSpPr/>
      </dsp:nvSpPr>
      <dsp:spPr>
        <a:xfrm>
          <a:off x="0" y="3091392"/>
          <a:ext cx="9359900" cy="1545695"/>
        </a:xfrm>
        <a:prstGeom prst="trapezoid">
          <a:avLst>
            <a:gd name="adj" fmla="val 100924"/>
          </a:avLst>
        </a:prstGeom>
        <a:gradFill rotWithShape="0">
          <a:gsLst>
            <a:gs pos="0">
              <a:schemeClr val="accent5">
                <a:alpha val="90000"/>
                <a:hueOff val="0"/>
                <a:satOff val="0"/>
                <a:lumOff val="0"/>
                <a:alphaOff val="-40000"/>
                <a:shade val="51000"/>
                <a:satMod val="130000"/>
              </a:schemeClr>
            </a:gs>
            <a:gs pos="80000">
              <a:schemeClr val="accent5">
                <a:alpha val="90000"/>
                <a:hueOff val="0"/>
                <a:satOff val="0"/>
                <a:lumOff val="0"/>
                <a:alphaOff val="-40000"/>
                <a:shade val="93000"/>
                <a:satMod val="130000"/>
              </a:schemeClr>
            </a:gs>
            <a:gs pos="100000">
              <a:schemeClr val="accent5">
                <a:alpha val="90000"/>
                <a:hueOff val="0"/>
                <a:satOff val="0"/>
                <a:lumOff val="0"/>
                <a:alphaOff val="-4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3660" tIns="73660" rIns="73660" bIns="73660" numCol="1" spcCol="1270" anchor="ctr" anchorCtr="0">
          <a:noAutofit/>
        </a:bodyPr>
        <a:lstStyle/>
        <a:p>
          <a:pPr lvl="0" algn="ctr" defTabSz="2578100">
            <a:lnSpc>
              <a:spcPct val="90000"/>
            </a:lnSpc>
            <a:spcBef>
              <a:spcPct val="0"/>
            </a:spcBef>
            <a:spcAft>
              <a:spcPct val="35000"/>
            </a:spcAft>
          </a:pPr>
          <a:r>
            <a:rPr lang="en-US" sz="5800" kern="1200" dirty="0" smtClean="0">
              <a:solidFill>
                <a:schemeClr val="bg1"/>
              </a:solidFill>
            </a:rPr>
            <a:t>Dealer, Workshop</a:t>
          </a:r>
          <a:endParaRPr lang="en-US" sz="5800" kern="1200" dirty="0">
            <a:solidFill>
              <a:schemeClr val="bg1"/>
            </a:solidFill>
          </a:endParaRPr>
        </a:p>
      </dsp:txBody>
      <dsp:txXfrm>
        <a:off x="1637982" y="3091392"/>
        <a:ext cx="6083935" cy="1545695"/>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1/22/2018</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8.xml"/><Relationship Id="rId7"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1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6.vml"/><Relationship Id="rId6" Type="http://schemas.openxmlformats.org/officeDocument/2006/relationships/image" Target="../media/image14.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5.jpeg"/><Relationship Id="rId2" Type="http://schemas.openxmlformats.org/officeDocument/2006/relationships/tags" Target="../tags/tag5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CDCBD4-A2ED-4D2A-A201-177C07511CB4}" type="datetimeFigureOut">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pic>
        <p:nvPicPr>
          <p:cNvPr id="2" name="Picture 16" descr="iCON_Logo_neu_transparent"/>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xmlns="" val="0"/>
              </a:ext>
            </a:extLst>
          </a:blip>
          <a:srcRect/>
          <a:stretch>
            <a:fillRect/>
          </a:stretch>
        </p:blipFill>
        <p:spPr bwMode="auto">
          <a:xfrm>
            <a:off x="8169010" y="323871"/>
            <a:ext cx="1129904"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4"/>
          <p:cNvSpPr>
            <a:spLocks noGrp="1" noChangeArrowheads="1"/>
          </p:cNvSpPr>
          <p:nvPr>
            <p:ph type="dt" sz="half" idx="10"/>
          </p:nvPr>
        </p:nvSpPr>
        <p:spPr/>
        <p:txBody>
          <a:bodyPr/>
          <a:lstStyle>
            <a:lvl1pPr>
              <a:defRPr>
                <a:cs typeface="Arial" charset="0"/>
              </a:defRPr>
            </a:lvl1pPr>
          </a:lstStyle>
          <a:p>
            <a:pPr>
              <a:defRPr/>
            </a:pPr>
            <a:endParaRPr lang="de-DE"/>
          </a:p>
        </p:txBody>
      </p:sp>
      <p:sp>
        <p:nvSpPr>
          <p:cNvPr id="6" name="Footer Placeholder 5"/>
          <p:cNvSpPr>
            <a:spLocks noGrp="1" noChangeArrowheads="1"/>
          </p:cNvSpPr>
          <p:nvPr>
            <p:ph type="ftr" sz="quarter" idx="3"/>
          </p:nvPr>
        </p:nvSpPr>
        <p:spPr bwMode="auto">
          <a:xfrm>
            <a:off x="428232" y="6548459"/>
            <a:ext cx="5302117"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7200" rIns="0" bIns="0" numCol="1" anchor="ctr" anchorCtr="0" compatLnSpc="1">
            <a:prstTxWarp prst="textNoShape">
              <a:avLst/>
            </a:prstTxWarp>
          </a:bodyPr>
          <a:lstStyle>
            <a:lvl1pPr>
              <a:defRPr sz="900">
                <a:latin typeface="CorpoS" pitchFamily="2" charset="0"/>
                <a:cs typeface="Arial" charset="0"/>
              </a:defRPr>
            </a:lvl1pPr>
          </a:lstStyle>
          <a:p>
            <a:pPr>
              <a:defRPr/>
            </a:pPr>
            <a:r>
              <a:rPr lang="en-US" dirty="0" err="1" smtClean="0"/>
              <a:t>iCON</a:t>
            </a:r>
            <a:r>
              <a:rPr lang="en-US" dirty="0" smtClean="0"/>
              <a:t> | TP2 </a:t>
            </a:r>
            <a:r>
              <a:rPr lang="en-US" dirty="0" err="1" smtClean="0"/>
              <a:t>Skribbles</a:t>
            </a:r>
            <a:r>
              <a:rPr lang="en-US" dirty="0" smtClean="0"/>
              <a:t> | 28.10.2013</a:t>
            </a:r>
            <a:endParaRPr lang="de-DE" dirty="0"/>
          </a:p>
        </p:txBody>
      </p:sp>
      <p:sp>
        <p:nvSpPr>
          <p:cNvPr id="7" name="Slide Number Placeholder 6"/>
          <p:cNvSpPr>
            <a:spLocks noGrp="1" noChangeArrowheads="1"/>
          </p:cNvSpPr>
          <p:nvPr>
            <p:ph type="sldNum" sz="quarter" idx="4"/>
          </p:nvPr>
        </p:nvSpPr>
        <p:spPr bwMode="auto">
          <a:xfrm>
            <a:off x="92880" y="6628767"/>
            <a:ext cx="273447" cy="1457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7200" rIns="0" bIns="0" numCol="1" anchor="ctr" anchorCtr="0" compatLnSpc="1">
            <a:prstTxWarp prst="textNoShape">
              <a:avLst/>
            </a:prstTxWarp>
          </a:bodyPr>
          <a:lstStyle>
            <a:lvl1pPr algn="r">
              <a:defRPr sz="900">
                <a:latin typeface="CorpoS" pitchFamily="2" charset="0"/>
                <a:cs typeface="Arial" charset="0"/>
              </a:defRPr>
            </a:lvl1pPr>
          </a:lstStyle>
          <a:p>
            <a:pPr>
              <a:defRPr/>
            </a:pPr>
            <a:fld id="{B3740903-BA6A-4AB4-B149-31FA73EE6E18}" type="slidenum">
              <a:rPr lang="de-DE"/>
              <a:pPr>
                <a:defRPr/>
              </a:pPr>
              <a:t>‹#›</a:t>
            </a:fld>
            <a:endParaRPr lang="de-DE"/>
          </a:p>
        </p:txBody>
      </p:sp>
    </p:spTree>
    <p:extLst>
      <p:ext uri="{BB962C8B-B14F-4D97-AF65-F5344CB8AC3E}">
        <p14:creationId xmlns:p14="http://schemas.microsoft.com/office/powerpoint/2010/main" xmlns="" val="289253312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TP1_KT.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TP1_KT.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TP1_KT.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TP1_KT.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TP1_KT.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TP1_KT.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TP1_KT.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2.gif"/><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5.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5.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4.xml"/><Relationship Id="rId16" Type="http://schemas.openxmlformats.org/officeDocument/2006/relationships/tags" Target="../tags/tag39.xml"/><Relationship Id="rId20" Type="http://schemas.openxmlformats.org/officeDocument/2006/relationships/image" Target="../media/image9.png"/><Relationship Id="rId29" Type="http://schemas.openxmlformats.org/officeDocument/2006/relationships/image" Target="../media/image2.gif"/><Relationship Id="rId1" Type="http://schemas.openxmlformats.org/officeDocument/2006/relationships/slideLayout" Target="../slideLayouts/slideLayout13.xml"/><Relationship Id="rId6" Type="http://schemas.openxmlformats.org/officeDocument/2006/relationships/theme" Target="../theme/theme2.xml"/><Relationship Id="rId11" Type="http://schemas.openxmlformats.org/officeDocument/2006/relationships/tags" Target="../tags/tag34.xml"/><Relationship Id="rId24" Type="http://schemas.openxmlformats.org/officeDocument/2006/relationships/image" Target="../media/image11.png"/><Relationship Id="rId5" Type="http://schemas.openxmlformats.org/officeDocument/2006/relationships/slideLayout" Target="../slideLayouts/slideLayout17.xml"/><Relationship Id="rId15" Type="http://schemas.openxmlformats.org/officeDocument/2006/relationships/tags" Target="../tags/tag38.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33.xml"/><Relationship Id="rId19" Type="http://schemas.openxmlformats.org/officeDocument/2006/relationships/hyperlink" Target="http://www.facebook.com/Capgemini" TargetMode="External"/><Relationship Id="rId4" Type="http://schemas.openxmlformats.org/officeDocument/2006/relationships/slideLayout" Target="../slideLayouts/slideLayout16.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2" imgW="360" imgH="360" progId="">
              <p:embed/>
            </p:oleObj>
          </a:graphicData>
        </a:graphic>
      </p:graphicFrame>
      <p:pic>
        <p:nvPicPr>
          <p:cNvPr id="21" name="Picture 20" descr="Capgemini_Untransparent.gif"/>
          <p:cNvPicPr>
            <a:picLocks noChangeAspect="1"/>
          </p:cNvPicPr>
          <p:nvPr>
            <p:custDataLst>
              <p:tags r:id="rId15"/>
            </p:custDataLst>
          </p:nvPr>
        </p:nvPicPr>
        <p:blipFill>
          <a:blip r:embed="rId23"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9"/>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20"/>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TP1_KT.pptx</a:t>
            </a:r>
            <a:endParaRPr lang="de-DE"/>
          </a:p>
        </p:txBody>
      </p:sp>
      <p:sp>
        <p:nvSpPr>
          <p:cNvPr id="18" name="Slide Number Placeholder 17"/>
          <p:cNvSpPr>
            <a:spLocks noGrp="1"/>
          </p:cNvSpPr>
          <p:nvPr>
            <p:ph type="sldNum" sz="quarter" idx="4"/>
            <p:custDataLst>
              <p:tags r:id="rId21"/>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 id="2147483974" r:id="rId11"/>
    <p:sldLayoutId id="2147483975" r:id="rId12"/>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5.png"/><Relationship Id="rId2" Type="http://schemas.openxmlformats.org/officeDocument/2006/relationships/tags" Target="../tags/tag6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oleObject" Target="../embeddings/oleObject22.bin"/><Relationship Id="rId3" Type="http://schemas.openxmlformats.org/officeDocument/2006/relationships/tags" Target="../tags/tag63.xml"/><Relationship Id="rId21" Type="http://schemas.openxmlformats.org/officeDocument/2006/relationships/tags" Target="../tags/tag81.xml"/><Relationship Id="rId34" Type="http://schemas.openxmlformats.org/officeDocument/2006/relationships/tags" Target="../tags/tag94.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tags" Target="../tags/tag93.xml"/><Relationship Id="rId38" Type="http://schemas.openxmlformats.org/officeDocument/2006/relationships/slideLayout" Target="../slideLayouts/slideLayout12.xml"/><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tags" Target="../tags/tag92.xml"/><Relationship Id="rId37" Type="http://schemas.openxmlformats.org/officeDocument/2006/relationships/tags" Target="../tags/tag97.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tags" Target="../tags/tag96.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tags" Target="../tags/tag91.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tags" Target="../tags/tag90.xml"/><Relationship Id="rId35" Type="http://schemas.openxmlformats.org/officeDocument/2006/relationships/tags" Target="../tags/tag9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9.xml"/><Relationship Id="rId1" Type="http://schemas.openxmlformats.org/officeDocument/2006/relationships/tags" Target="../tags/tag9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1.xml"/><Relationship Id="rId1" Type="http://schemas.openxmlformats.org/officeDocument/2006/relationships/tags" Target="../tags/tag10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3.xml"/><Relationship Id="rId1" Type="http://schemas.openxmlformats.org/officeDocument/2006/relationships/tags" Target="../tags/tag102.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1.xml"/><Relationship Id="rId1" Type="http://schemas.openxmlformats.org/officeDocument/2006/relationships/tags" Target="../tags/tag104.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06.xml"/><Relationship Id="rId7" Type="http://schemas.openxmlformats.org/officeDocument/2006/relationships/slideLayout" Target="../slideLayouts/slideLayout11.xml"/><Relationship Id="rId2" Type="http://schemas.openxmlformats.org/officeDocument/2006/relationships/tags" Target="../tags/tag105.xml"/><Relationship Id="rId1" Type="http://schemas.openxmlformats.org/officeDocument/2006/relationships/vmlDrawing" Target="../drawings/vmlDrawing23.v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11.xml"/><Relationship Id="rId7" Type="http://schemas.openxmlformats.org/officeDocument/2006/relationships/slideLayout" Target="../slideLayouts/slideLayout11.xml"/><Relationship Id="rId2" Type="http://schemas.openxmlformats.org/officeDocument/2006/relationships/tags" Target="../tags/tag110.xml"/><Relationship Id="rId1" Type="http://schemas.openxmlformats.org/officeDocument/2006/relationships/vmlDrawing" Target="../drawings/vmlDrawing24.v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slideLayout" Target="../slideLayouts/slideLayout11.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2" Type="http://schemas.openxmlformats.org/officeDocument/2006/relationships/tags" Target="../tags/tag115.xml"/><Relationship Id="rId1" Type="http://schemas.openxmlformats.org/officeDocument/2006/relationships/vmlDrawing" Target="../drawings/vmlDrawing25.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image" Target="../media/image29.png"/><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oleObject" Target="../embeddings/oleObject25.bin"/></Relationships>
</file>

<file path=ppt/slides/_rels/slide18.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image" Target="../media/image29.png"/><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oleObject" Target="../embeddings/oleObject26.bin"/><Relationship Id="rId2" Type="http://schemas.openxmlformats.org/officeDocument/2006/relationships/tags" Target="../tags/tag126.xml"/><Relationship Id="rId1" Type="http://schemas.openxmlformats.org/officeDocument/2006/relationships/vmlDrawing" Target="../drawings/vmlDrawing26.vml"/><Relationship Id="rId6" Type="http://schemas.openxmlformats.org/officeDocument/2006/relationships/tags" Target="../tags/tag130.xml"/><Relationship Id="rId11" Type="http://schemas.openxmlformats.org/officeDocument/2006/relationships/slideLayout" Target="../slideLayouts/slideLayout11.xml"/><Relationship Id="rId5" Type="http://schemas.openxmlformats.org/officeDocument/2006/relationships/tags" Target="../tags/tag129.xml"/><Relationship Id="rId10" Type="http://schemas.openxmlformats.org/officeDocument/2006/relationships/tags" Target="../tags/tag134.xml"/><Relationship Id="rId4" Type="http://schemas.openxmlformats.org/officeDocument/2006/relationships/tags" Target="../tags/tag128.xml"/><Relationship Id="rId9" Type="http://schemas.openxmlformats.org/officeDocument/2006/relationships/tags" Target="../tags/tag1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31.jpe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hyperlink" Target="https://seu.sdm.de/pu/daimler/build/confluence/display/ICON" TargetMode="Externa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26" Type="http://schemas.microsoft.com/office/2007/relationships/diagramDrawing" Target="../diagrams/drawing6.xml"/><Relationship Id="rId39" Type="http://schemas.openxmlformats.org/officeDocument/2006/relationships/diagramQuickStyle" Target="../diagrams/quickStyle9.xml"/><Relationship Id="rId3" Type="http://schemas.openxmlformats.org/officeDocument/2006/relationships/diagramLayout" Target="../diagrams/layout2.xml"/><Relationship Id="rId21" Type="http://schemas.microsoft.com/office/2007/relationships/diagramDrawing" Target="../diagrams/drawing5.xml"/><Relationship Id="rId34" Type="http://schemas.openxmlformats.org/officeDocument/2006/relationships/diagramQuickStyle" Target="../diagrams/quickStyle8.xml"/><Relationship Id="rId42" Type="http://schemas.openxmlformats.org/officeDocument/2006/relationships/diagramData" Target="../diagrams/data10.xml"/><Relationship Id="rId47" Type="http://schemas.openxmlformats.org/officeDocument/2006/relationships/comments" Target="../comments/comment2.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5" Type="http://schemas.openxmlformats.org/officeDocument/2006/relationships/diagramColors" Target="../diagrams/colors6.xml"/><Relationship Id="rId33" Type="http://schemas.openxmlformats.org/officeDocument/2006/relationships/diagramLayout" Target="../diagrams/layout8.xml"/><Relationship Id="rId38" Type="http://schemas.openxmlformats.org/officeDocument/2006/relationships/diagramLayout" Target="../diagrams/layout9.xml"/><Relationship Id="rId46" Type="http://schemas.microsoft.com/office/2007/relationships/diagramDrawing" Target="../diagrams/drawing10.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29" Type="http://schemas.openxmlformats.org/officeDocument/2006/relationships/diagramQuickStyle" Target="../diagrams/quickStyle7.xml"/><Relationship Id="rId41" Type="http://schemas.microsoft.com/office/2007/relationships/diagramDrawing" Target="../diagrams/drawing9.xml"/><Relationship Id="rId1" Type="http://schemas.openxmlformats.org/officeDocument/2006/relationships/slideLayout" Target="../slideLayouts/slideLayout11.xml"/><Relationship Id="rId6" Type="http://schemas.microsoft.com/office/2007/relationships/diagramDrawing" Target="../diagrams/drawing2.xml"/><Relationship Id="rId11" Type="http://schemas.microsoft.com/office/2007/relationships/diagramDrawing" Target="../diagrams/drawing3.xml"/><Relationship Id="rId24" Type="http://schemas.openxmlformats.org/officeDocument/2006/relationships/diagramQuickStyle" Target="../diagrams/quickStyle6.xml"/><Relationship Id="rId32" Type="http://schemas.openxmlformats.org/officeDocument/2006/relationships/diagramData" Target="../diagrams/data8.xml"/><Relationship Id="rId37" Type="http://schemas.openxmlformats.org/officeDocument/2006/relationships/diagramData" Target="../diagrams/data9.xml"/><Relationship Id="rId40" Type="http://schemas.openxmlformats.org/officeDocument/2006/relationships/diagramColors" Target="../diagrams/colors9.xml"/><Relationship Id="rId45" Type="http://schemas.openxmlformats.org/officeDocument/2006/relationships/diagramColors" Target="../diagrams/colors10.xml"/><Relationship Id="rId5" Type="http://schemas.openxmlformats.org/officeDocument/2006/relationships/diagramColors" Target="../diagrams/colors2.xml"/><Relationship Id="rId15" Type="http://schemas.openxmlformats.org/officeDocument/2006/relationships/diagramColors" Target="../diagrams/colors4.xml"/><Relationship Id="rId23" Type="http://schemas.openxmlformats.org/officeDocument/2006/relationships/diagramLayout" Target="../diagrams/layout6.xml"/><Relationship Id="rId28" Type="http://schemas.openxmlformats.org/officeDocument/2006/relationships/diagramLayout" Target="../diagrams/layout7.xml"/><Relationship Id="rId36" Type="http://schemas.microsoft.com/office/2007/relationships/diagramDrawing" Target="../diagrams/drawing8.xml"/><Relationship Id="rId10" Type="http://schemas.openxmlformats.org/officeDocument/2006/relationships/diagramColors" Target="../diagrams/colors3.xml"/><Relationship Id="rId19" Type="http://schemas.openxmlformats.org/officeDocument/2006/relationships/diagramQuickStyle" Target="../diagrams/quickStyle5.xml"/><Relationship Id="rId31" Type="http://schemas.microsoft.com/office/2007/relationships/diagramDrawing" Target="../diagrams/drawing7.xml"/><Relationship Id="rId44" Type="http://schemas.openxmlformats.org/officeDocument/2006/relationships/diagramQuickStyle" Target="../diagrams/quickStyle10.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 Id="rId22" Type="http://schemas.openxmlformats.org/officeDocument/2006/relationships/diagramData" Target="../diagrams/data6.xml"/><Relationship Id="rId27" Type="http://schemas.openxmlformats.org/officeDocument/2006/relationships/diagramData" Target="../diagrams/data7.xml"/><Relationship Id="rId30" Type="http://schemas.openxmlformats.org/officeDocument/2006/relationships/diagramColors" Target="../diagrams/colors7.xml"/><Relationship Id="rId35" Type="http://schemas.openxmlformats.org/officeDocument/2006/relationships/diagramColors" Target="../diagrams/colors8.xml"/><Relationship Id="rId43" Type="http://schemas.openxmlformats.org/officeDocument/2006/relationships/diagramLayout" Target="../diagrams/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3.wmf"/><Relationship Id="rId7" Type="http://schemas.openxmlformats.org/officeDocument/2006/relationships/image" Target="../media/image27.wmf"/><Relationship Id="rId2" Type="http://schemas.openxmlformats.org/officeDocument/2006/relationships/image" Target="../media/image22.png"/><Relationship Id="rId1" Type="http://schemas.openxmlformats.org/officeDocument/2006/relationships/slideLayout" Target="../slideLayouts/slideLayout11.xml"/><Relationship Id="rId6" Type="http://schemas.openxmlformats.org/officeDocument/2006/relationships/image" Target="../media/image26.emf"/><Relationship Id="rId5" Type="http://schemas.openxmlformats.org/officeDocument/2006/relationships/image" Target="../media/image25.wmf"/><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8" name="think-cell Slide" r:id="rId6" imgW="360" imgH="360" progId="">
              <p:embed/>
            </p:oleObj>
          </a:graphicData>
        </a:graphic>
      </p:graphicFrame>
      <p:sp>
        <p:nvSpPr>
          <p:cNvPr id="10" name="Title 9"/>
          <p:cNvSpPr>
            <a:spLocks noGrp="1"/>
          </p:cNvSpPr>
          <p:nvPr>
            <p:ph type="ctrTitle"/>
            <p:custDataLst>
              <p:tags r:id="rId2"/>
            </p:custDataLst>
          </p:nvPr>
        </p:nvSpPr>
        <p:spPr>
          <a:xfrm>
            <a:off x="0" y="2256614"/>
            <a:ext cx="4540683" cy="2227075"/>
          </a:xfrm>
        </p:spPr>
        <p:txBody>
          <a:bodyPr/>
          <a:lstStyle/>
          <a:p>
            <a:r>
              <a:rPr lang="en-GB" sz="2800" b="1" dirty="0" smtClean="0"/>
              <a:t>Project iCON</a:t>
            </a:r>
            <a:r>
              <a:rPr lang="en-GB" dirty="0" smtClean="0"/>
              <a:t/>
            </a:r>
            <a:br>
              <a:rPr lang="en-GB" dirty="0" smtClean="0"/>
            </a:br>
            <a:r>
              <a:rPr lang="en-GB" sz="1400" dirty="0" smtClean="0">
                <a:latin typeface="+mn-lt"/>
              </a:rPr>
              <a:t>System walkthrough</a:t>
            </a:r>
            <a:endParaRPr lang="en-GB" sz="1400" dirty="0">
              <a:latin typeface="+mn-lt"/>
            </a:endParaRPr>
          </a:p>
        </p:txBody>
      </p:sp>
      <p:sp>
        <p:nvSpPr>
          <p:cNvPr id="13" name="Subtitle 12"/>
          <p:cNvSpPr>
            <a:spLocks noGrp="1"/>
          </p:cNvSpPr>
          <p:nvPr>
            <p:ph type="subTitle" idx="1"/>
            <p:custDataLst>
              <p:tags r:id="rId3"/>
            </p:custDataLst>
          </p:nvPr>
        </p:nvSpPr>
        <p:spPr>
          <a:xfrm>
            <a:off x="1" y="4534519"/>
            <a:ext cx="4541230" cy="947750"/>
          </a:xfrm>
        </p:spPr>
        <p:txBody>
          <a:bodyPr>
            <a:normAutofit/>
          </a:bodyPr>
          <a:lstStyle/>
          <a:p>
            <a:r>
              <a:rPr lang="en-GB" sz="1400" dirty="0" smtClean="0"/>
              <a:t>Mumbai</a:t>
            </a:r>
          </a:p>
          <a:p>
            <a:r>
              <a:rPr lang="en-GB" sz="1400" dirty="0" smtClean="0"/>
              <a:t>January 2017</a:t>
            </a:r>
          </a:p>
        </p:txBody>
      </p:sp>
      <p:pic>
        <p:nvPicPr>
          <p:cNvPr id="75779" name="Picture 3"/>
          <p:cNvPicPr>
            <a:picLocks noChangeAspect="1" noChangeArrowheads="1"/>
          </p:cNvPicPr>
          <p:nvPr/>
        </p:nvPicPr>
        <p:blipFill>
          <a:blip r:embed="rId7"/>
          <a:srcRect/>
          <a:stretch>
            <a:fillRect/>
          </a:stretch>
        </p:blipFill>
        <p:spPr bwMode="auto">
          <a:xfrm>
            <a:off x="8193450" y="548600"/>
            <a:ext cx="1352550" cy="7239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3154" name="Object 35" hidden="1"/>
          <p:cNvGraphicFramePr>
            <a:graphicFrameLocks/>
          </p:cNvGraphicFramePr>
          <p:nvPr/>
        </p:nvGraphicFramePr>
        <p:xfrm>
          <a:off x="0" y="0"/>
          <a:ext cx="171979" cy="158750"/>
        </p:xfrm>
        <a:graphic>
          <a:graphicData uri="http://schemas.openxmlformats.org/presentationml/2006/ole">
            <p:oleObj spid="_x0000_s169986" name="think-cell Slide" r:id="rId39" imgW="360" imgH="360" progId="">
              <p:embed/>
            </p:oleObj>
          </a:graphicData>
        </a:graphic>
      </p:graphicFrame>
      <p:sp>
        <p:nvSpPr>
          <p:cNvPr id="433155" name="Rectangle 2"/>
          <p:cNvSpPr>
            <a:spLocks noGrp="1" noChangeArrowheads="1"/>
          </p:cNvSpPr>
          <p:nvPr>
            <p:ph type="title" idx="4294967295"/>
          </p:nvPr>
        </p:nvSpPr>
        <p:spPr>
          <a:xfrm>
            <a:off x="285486" y="87313"/>
            <a:ext cx="7599977" cy="900112"/>
          </a:xfrm>
          <a:noFill/>
        </p:spPr>
        <p:txBody>
          <a:bodyPr/>
          <a:lstStyle/>
          <a:p>
            <a:r>
              <a:rPr lang="en-US" altLang="de-DE" sz="2000" dirty="0" smtClean="0"/>
              <a:t>System integration</a:t>
            </a:r>
            <a:endParaRPr lang="en-US" altLang="de-DE" sz="2000" dirty="0"/>
          </a:p>
        </p:txBody>
      </p:sp>
      <p:sp>
        <p:nvSpPr>
          <p:cNvPr id="28" name="Line 3"/>
          <p:cNvSpPr>
            <a:spLocks noChangeShapeType="1"/>
          </p:cNvSpPr>
          <p:nvPr>
            <p:custDataLst>
              <p:tags r:id="rId2"/>
            </p:custDataLst>
          </p:nvPr>
        </p:nvSpPr>
        <p:spPr bwMode="auto">
          <a:xfrm flipH="1" flipV="1">
            <a:off x="268108" y="3996607"/>
            <a:ext cx="9568921" cy="7937"/>
          </a:xfrm>
          <a:prstGeom prst="line">
            <a:avLst/>
          </a:prstGeom>
          <a:noFill/>
          <a:ln w="317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29" name="Line 4"/>
          <p:cNvSpPr>
            <a:spLocks noChangeShapeType="1"/>
          </p:cNvSpPr>
          <p:nvPr>
            <p:custDataLst>
              <p:tags r:id="rId3"/>
            </p:custDataLst>
          </p:nvPr>
        </p:nvSpPr>
        <p:spPr bwMode="auto">
          <a:xfrm flipH="1" flipV="1">
            <a:off x="268108" y="5006258"/>
            <a:ext cx="9568921" cy="7937"/>
          </a:xfrm>
          <a:prstGeom prst="line">
            <a:avLst/>
          </a:prstGeom>
          <a:noFill/>
          <a:ln w="317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30" name="Line 5"/>
          <p:cNvSpPr>
            <a:spLocks noChangeShapeType="1"/>
          </p:cNvSpPr>
          <p:nvPr>
            <p:custDataLst>
              <p:tags r:id="rId4"/>
            </p:custDataLst>
          </p:nvPr>
        </p:nvSpPr>
        <p:spPr bwMode="auto">
          <a:xfrm flipH="1" flipV="1">
            <a:off x="268108" y="2493244"/>
            <a:ext cx="9568921" cy="7938"/>
          </a:xfrm>
          <a:prstGeom prst="line">
            <a:avLst/>
          </a:prstGeom>
          <a:noFill/>
          <a:ln w="317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31" name="Rectangle 6"/>
          <p:cNvSpPr>
            <a:spLocks noChangeArrowheads="1"/>
          </p:cNvSpPr>
          <p:nvPr>
            <p:custDataLst>
              <p:tags r:id="rId5"/>
            </p:custDataLst>
          </p:nvPr>
        </p:nvSpPr>
        <p:spPr bwMode="auto">
          <a:xfrm>
            <a:off x="6744843" y="3517182"/>
            <a:ext cx="1250288" cy="976312"/>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sz="1400" smtClean="0">
                <a:solidFill>
                  <a:srgbClr val="000000"/>
                </a:solidFill>
                <a:latin typeface="CorpoS" pitchFamily="2" charset="0"/>
              </a:rPr>
              <a:t>VEGA</a:t>
            </a:r>
          </a:p>
        </p:txBody>
      </p:sp>
      <p:grpSp>
        <p:nvGrpSpPr>
          <p:cNvPr id="2" name="Group 7"/>
          <p:cNvGrpSpPr>
            <a:grpSpLocks/>
          </p:cNvGrpSpPr>
          <p:nvPr/>
        </p:nvGrpSpPr>
        <p:grpSpPr bwMode="auto">
          <a:xfrm>
            <a:off x="1569990" y="2007469"/>
            <a:ext cx="6449219" cy="3749675"/>
            <a:chOff x="870" y="1294"/>
            <a:chExt cx="3750" cy="2544"/>
          </a:xfrm>
        </p:grpSpPr>
        <p:sp>
          <p:nvSpPr>
            <p:cNvPr id="33" name="Line 8"/>
            <p:cNvSpPr>
              <a:spLocks noChangeShapeType="1"/>
            </p:cNvSpPr>
            <p:nvPr>
              <p:custDataLst>
                <p:tags r:id="rId32"/>
              </p:custDataLst>
            </p:nvPr>
          </p:nvSpPr>
          <p:spPr bwMode="auto">
            <a:xfrm>
              <a:off x="870" y="1299"/>
              <a:ext cx="0" cy="2539"/>
            </a:xfrm>
            <a:prstGeom prst="line">
              <a:avLst/>
            </a:prstGeom>
            <a:noFill/>
            <a:ln w="952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34" name="Line 9"/>
            <p:cNvSpPr>
              <a:spLocks noChangeShapeType="1"/>
            </p:cNvSpPr>
            <p:nvPr>
              <p:custDataLst>
                <p:tags r:id="rId33"/>
              </p:custDataLst>
            </p:nvPr>
          </p:nvSpPr>
          <p:spPr bwMode="auto">
            <a:xfrm>
              <a:off x="1611" y="1298"/>
              <a:ext cx="0" cy="2539"/>
            </a:xfrm>
            <a:prstGeom prst="line">
              <a:avLst/>
            </a:prstGeom>
            <a:noFill/>
            <a:ln w="952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38" name="Line 10"/>
            <p:cNvSpPr>
              <a:spLocks noChangeShapeType="1"/>
            </p:cNvSpPr>
            <p:nvPr>
              <p:custDataLst>
                <p:tags r:id="rId34"/>
              </p:custDataLst>
            </p:nvPr>
          </p:nvSpPr>
          <p:spPr bwMode="auto">
            <a:xfrm>
              <a:off x="2367" y="1299"/>
              <a:ext cx="0" cy="2539"/>
            </a:xfrm>
            <a:prstGeom prst="line">
              <a:avLst/>
            </a:prstGeom>
            <a:noFill/>
            <a:ln w="952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39" name="Line 11"/>
            <p:cNvSpPr>
              <a:spLocks noChangeShapeType="1"/>
            </p:cNvSpPr>
            <p:nvPr>
              <p:custDataLst>
                <p:tags r:id="rId35"/>
              </p:custDataLst>
            </p:nvPr>
          </p:nvSpPr>
          <p:spPr bwMode="auto">
            <a:xfrm>
              <a:off x="3113" y="1298"/>
              <a:ext cx="0" cy="2539"/>
            </a:xfrm>
            <a:prstGeom prst="line">
              <a:avLst/>
            </a:prstGeom>
            <a:noFill/>
            <a:ln w="952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40" name="Line 12"/>
            <p:cNvSpPr>
              <a:spLocks noChangeShapeType="1"/>
            </p:cNvSpPr>
            <p:nvPr>
              <p:custDataLst>
                <p:tags r:id="rId36"/>
              </p:custDataLst>
            </p:nvPr>
          </p:nvSpPr>
          <p:spPr bwMode="auto">
            <a:xfrm>
              <a:off x="3864" y="1294"/>
              <a:ext cx="0" cy="2539"/>
            </a:xfrm>
            <a:prstGeom prst="line">
              <a:avLst/>
            </a:prstGeom>
            <a:noFill/>
            <a:ln w="952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41" name="Line 13"/>
            <p:cNvSpPr>
              <a:spLocks noChangeShapeType="1"/>
            </p:cNvSpPr>
            <p:nvPr>
              <p:custDataLst>
                <p:tags r:id="rId37"/>
              </p:custDataLst>
            </p:nvPr>
          </p:nvSpPr>
          <p:spPr bwMode="auto">
            <a:xfrm>
              <a:off x="4620" y="1298"/>
              <a:ext cx="0" cy="2539"/>
            </a:xfrm>
            <a:prstGeom prst="line">
              <a:avLst/>
            </a:prstGeom>
            <a:noFill/>
            <a:ln w="952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grpSp>
      <p:sp>
        <p:nvSpPr>
          <p:cNvPr id="42" name="Line 14"/>
          <p:cNvSpPr>
            <a:spLocks noChangeShapeType="1"/>
          </p:cNvSpPr>
          <p:nvPr>
            <p:custDataLst>
              <p:tags r:id="rId6"/>
            </p:custDataLst>
          </p:nvPr>
        </p:nvSpPr>
        <p:spPr bwMode="auto">
          <a:xfrm flipH="1" flipV="1">
            <a:off x="268108" y="2990133"/>
            <a:ext cx="9568921" cy="7937"/>
          </a:xfrm>
          <a:prstGeom prst="line">
            <a:avLst/>
          </a:prstGeom>
          <a:noFill/>
          <a:ln w="317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43" name="Line 15"/>
          <p:cNvSpPr>
            <a:spLocks noChangeShapeType="1"/>
          </p:cNvSpPr>
          <p:nvPr>
            <p:custDataLst>
              <p:tags r:id="rId7"/>
            </p:custDataLst>
          </p:nvPr>
        </p:nvSpPr>
        <p:spPr bwMode="auto">
          <a:xfrm flipH="1" flipV="1">
            <a:off x="293904" y="3483844"/>
            <a:ext cx="9568921" cy="7938"/>
          </a:xfrm>
          <a:prstGeom prst="line">
            <a:avLst/>
          </a:prstGeom>
          <a:noFill/>
          <a:ln w="317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44" name="Line 16"/>
          <p:cNvSpPr>
            <a:spLocks noChangeShapeType="1"/>
          </p:cNvSpPr>
          <p:nvPr>
            <p:custDataLst>
              <p:tags r:id="rId8"/>
            </p:custDataLst>
          </p:nvPr>
        </p:nvSpPr>
        <p:spPr bwMode="auto">
          <a:xfrm flipH="1" flipV="1">
            <a:off x="268108" y="4501433"/>
            <a:ext cx="9568921" cy="7937"/>
          </a:xfrm>
          <a:prstGeom prst="line">
            <a:avLst/>
          </a:prstGeom>
          <a:noFill/>
          <a:ln w="3175">
            <a:solidFill>
              <a:srgbClr val="182B45"/>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45" name="Rectangle 17"/>
          <p:cNvSpPr>
            <a:spLocks noChangeArrowheads="1"/>
          </p:cNvSpPr>
          <p:nvPr>
            <p:custDataLst>
              <p:tags r:id="rId9"/>
            </p:custDataLst>
          </p:nvPr>
        </p:nvSpPr>
        <p:spPr bwMode="auto">
          <a:xfrm>
            <a:off x="6753442" y="2540869"/>
            <a:ext cx="2536693" cy="407988"/>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sz="1400" smtClean="0">
                <a:solidFill>
                  <a:srgbClr val="000000"/>
                </a:solidFill>
                <a:latin typeface="CorpoS" pitchFamily="2" charset="0"/>
              </a:rPr>
              <a:t>EVA</a:t>
            </a:r>
          </a:p>
        </p:txBody>
      </p:sp>
      <p:sp>
        <p:nvSpPr>
          <p:cNvPr id="46" name="Rectangle 18"/>
          <p:cNvSpPr>
            <a:spLocks noChangeArrowheads="1"/>
          </p:cNvSpPr>
          <p:nvPr>
            <p:custDataLst>
              <p:tags r:id="rId10"/>
            </p:custDataLst>
          </p:nvPr>
        </p:nvSpPr>
        <p:spPr bwMode="auto">
          <a:xfrm>
            <a:off x="1594067" y="2015408"/>
            <a:ext cx="4586685" cy="2478087"/>
          </a:xfrm>
          <a:prstGeom prst="rect">
            <a:avLst/>
          </a:prstGeom>
          <a:solidFill>
            <a:srgbClr val="3F9AC9"/>
          </a:solidFill>
          <a:ln>
            <a:noFill/>
          </a:ln>
          <a:effectLst/>
          <a:extLst>
            <a:ext uri="{91240B29-F687-4F45-9708-019B960494DF}">
              <a14:hiddenLine xmlns:a14="http://schemas.microsoft.com/office/drawing/2010/main" xmlns="" w="9525" algn="ctr">
                <a:solidFill>
                  <a:srgbClr val="182B45"/>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b="1" smtClean="0">
                <a:solidFill>
                  <a:srgbClr val="FFFFFF"/>
                </a:solidFill>
                <a:latin typeface="CorpoS" pitchFamily="2" charset="0"/>
              </a:rPr>
              <a:t>iCON</a:t>
            </a:r>
          </a:p>
        </p:txBody>
      </p:sp>
      <p:sp>
        <p:nvSpPr>
          <p:cNvPr id="47" name="Rectangle 19"/>
          <p:cNvSpPr>
            <a:spLocks noChangeArrowheads="1"/>
          </p:cNvSpPr>
          <p:nvPr>
            <p:custDataLst>
              <p:tags r:id="rId11"/>
            </p:custDataLst>
          </p:nvPr>
        </p:nvSpPr>
        <p:spPr bwMode="auto">
          <a:xfrm>
            <a:off x="8053605" y="3015532"/>
            <a:ext cx="1250289" cy="1477962"/>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sz="1400" smtClean="0">
                <a:solidFill>
                  <a:srgbClr val="000000"/>
                </a:solidFill>
                <a:latin typeface="CorpoS" pitchFamily="2" charset="0"/>
              </a:rPr>
              <a:t>AQUA</a:t>
            </a:r>
          </a:p>
        </p:txBody>
      </p:sp>
      <p:sp>
        <p:nvSpPr>
          <p:cNvPr id="48" name="Rectangle 20"/>
          <p:cNvSpPr>
            <a:spLocks noChangeArrowheads="1"/>
          </p:cNvSpPr>
          <p:nvPr>
            <p:custDataLst>
              <p:tags r:id="rId12"/>
            </p:custDataLst>
          </p:nvPr>
        </p:nvSpPr>
        <p:spPr bwMode="auto">
          <a:xfrm rot="16200000">
            <a:off x="5716077" y="3531800"/>
            <a:ext cx="1477962" cy="445426"/>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sz="1400" smtClean="0">
                <a:solidFill>
                  <a:srgbClr val="000000"/>
                </a:solidFill>
                <a:latin typeface="CorpoS" pitchFamily="2" charset="0"/>
              </a:rPr>
              <a:t>CoFiCo/NACOS</a:t>
            </a:r>
          </a:p>
        </p:txBody>
      </p:sp>
      <p:sp>
        <p:nvSpPr>
          <p:cNvPr id="49" name="Rectangle 21"/>
          <p:cNvSpPr>
            <a:spLocks noChangeArrowheads="1"/>
          </p:cNvSpPr>
          <p:nvPr/>
        </p:nvSpPr>
        <p:spPr bwMode="auto">
          <a:xfrm>
            <a:off x="8067363" y="4556994"/>
            <a:ext cx="1250289" cy="407988"/>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sz="1400" smtClean="0">
                <a:solidFill>
                  <a:srgbClr val="000000"/>
                </a:solidFill>
                <a:latin typeface="CorpoS" pitchFamily="2" charset="0"/>
              </a:rPr>
              <a:t>SCARF</a:t>
            </a:r>
          </a:p>
        </p:txBody>
      </p:sp>
      <p:sp>
        <p:nvSpPr>
          <p:cNvPr id="50" name="Rectangle 22"/>
          <p:cNvSpPr>
            <a:spLocks noChangeArrowheads="1"/>
          </p:cNvSpPr>
          <p:nvPr/>
        </p:nvSpPr>
        <p:spPr bwMode="auto">
          <a:xfrm>
            <a:off x="1693815" y="2093194"/>
            <a:ext cx="601927" cy="896938"/>
          </a:xfrm>
          <a:prstGeom prst="rect">
            <a:avLst/>
          </a:prstGeom>
          <a:solidFill>
            <a:srgbClr val="CCFF99"/>
          </a:solidFill>
          <a:ln w="25400" algn="ctr">
            <a:solidFill>
              <a:srgbClr val="FFFFFF"/>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sz="1400" smtClean="0">
                <a:solidFill>
                  <a:srgbClr val="000000"/>
                </a:solidFill>
                <a:latin typeface="CorpoS" pitchFamily="2" charset="0"/>
              </a:rPr>
              <a:t>POS </a:t>
            </a:r>
          </a:p>
          <a:p>
            <a:pPr algn="ctr"/>
            <a:r>
              <a:rPr lang="de-DE" altLang="de-DE" sz="1400" smtClean="0">
                <a:solidFill>
                  <a:srgbClr val="000000"/>
                </a:solidFill>
                <a:latin typeface="CorpoS" pitchFamily="2" charset="0"/>
              </a:rPr>
              <a:t>/ </a:t>
            </a:r>
          </a:p>
          <a:p>
            <a:pPr algn="ctr"/>
            <a:r>
              <a:rPr lang="de-DE" altLang="de-DE" sz="1400" smtClean="0">
                <a:solidFill>
                  <a:srgbClr val="000000"/>
                </a:solidFill>
                <a:latin typeface="CorpoS" pitchFamily="2" charset="0"/>
              </a:rPr>
              <a:t>ASM</a:t>
            </a:r>
          </a:p>
        </p:txBody>
      </p:sp>
      <p:sp>
        <p:nvSpPr>
          <p:cNvPr id="51" name="Line 23"/>
          <p:cNvSpPr>
            <a:spLocks noChangeShapeType="1"/>
          </p:cNvSpPr>
          <p:nvPr/>
        </p:nvSpPr>
        <p:spPr bwMode="auto">
          <a:xfrm>
            <a:off x="7367408" y="2948858"/>
            <a:ext cx="0" cy="568325"/>
          </a:xfrm>
          <a:prstGeom prst="line">
            <a:avLst/>
          </a:prstGeom>
          <a:noFill/>
          <a:ln w="9525">
            <a:solidFill>
              <a:srgbClr val="182B45"/>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spAutoFit/>
          </a:bodyPr>
          <a:lstStyle/>
          <a:p>
            <a:endParaRPr lang="de-DE" smtClean="0">
              <a:solidFill>
                <a:srgbClr val="000000"/>
              </a:solidFill>
            </a:endParaRPr>
          </a:p>
        </p:txBody>
      </p:sp>
      <p:sp>
        <p:nvSpPr>
          <p:cNvPr id="52" name="Rectangle 24"/>
          <p:cNvSpPr>
            <a:spLocks noChangeArrowheads="1"/>
          </p:cNvSpPr>
          <p:nvPr/>
        </p:nvSpPr>
        <p:spPr bwMode="auto">
          <a:xfrm>
            <a:off x="1619864" y="5045945"/>
            <a:ext cx="1196975" cy="568325"/>
          </a:xfrm>
          <a:prstGeom prst="rect">
            <a:avLst/>
          </a:prstGeom>
          <a:solidFill>
            <a:srgbClr val="3F9AC9"/>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buFontTx/>
              <a:buChar char="•"/>
            </a:pPr>
            <a:r>
              <a:rPr lang="de-DE" altLang="de-DE" sz="1000" smtClean="0">
                <a:solidFill>
                  <a:srgbClr val="000000"/>
                </a:solidFill>
                <a:latin typeface="CorpoS" pitchFamily="2" charset="0"/>
              </a:rPr>
              <a:t>Products</a:t>
            </a:r>
          </a:p>
          <a:p>
            <a:pPr>
              <a:buFontTx/>
              <a:buChar char="•"/>
            </a:pPr>
            <a:r>
              <a:rPr lang="de-DE" altLang="de-DE" sz="1000" smtClean="0">
                <a:solidFill>
                  <a:srgbClr val="000000"/>
                </a:solidFill>
                <a:latin typeface="CorpoS" pitchFamily="2" charset="0"/>
              </a:rPr>
              <a:t>Costs</a:t>
            </a:r>
          </a:p>
          <a:p>
            <a:pPr>
              <a:buFontTx/>
              <a:buChar char="•"/>
            </a:pPr>
            <a:r>
              <a:rPr lang="de-DE" altLang="de-DE" sz="1000" smtClean="0">
                <a:solidFill>
                  <a:srgbClr val="000000"/>
                </a:solidFill>
                <a:latin typeface="CorpoS" pitchFamily="2" charset="0"/>
              </a:rPr>
              <a:t>Prices</a:t>
            </a:r>
          </a:p>
        </p:txBody>
      </p:sp>
      <p:sp>
        <p:nvSpPr>
          <p:cNvPr id="53" name="Rectangle 25"/>
          <p:cNvSpPr>
            <a:spLocks noChangeArrowheads="1"/>
          </p:cNvSpPr>
          <p:nvPr/>
        </p:nvSpPr>
        <p:spPr bwMode="auto">
          <a:xfrm>
            <a:off x="4185793" y="5038008"/>
            <a:ext cx="1196975" cy="568325"/>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buFontTx/>
              <a:buChar char="•"/>
            </a:pPr>
            <a:r>
              <a:rPr lang="de-DE" altLang="de-DE" sz="1000" smtClean="0">
                <a:solidFill>
                  <a:srgbClr val="000000"/>
                </a:solidFill>
                <a:latin typeface="CorpoS" pitchFamily="2" charset="0"/>
              </a:rPr>
              <a:t>Vehicle build</a:t>
            </a:r>
          </a:p>
        </p:txBody>
      </p:sp>
      <p:sp>
        <p:nvSpPr>
          <p:cNvPr id="54" name="Rectangle 26"/>
          <p:cNvSpPr>
            <a:spLocks noChangeArrowheads="1"/>
          </p:cNvSpPr>
          <p:nvPr>
            <p:custDataLst>
              <p:tags r:id="rId13"/>
            </p:custDataLst>
          </p:nvPr>
        </p:nvSpPr>
        <p:spPr bwMode="auto">
          <a:xfrm>
            <a:off x="6768920" y="5045945"/>
            <a:ext cx="1196975" cy="568325"/>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buFontTx/>
              <a:buChar char="•"/>
            </a:pPr>
            <a:r>
              <a:rPr lang="en-US" altLang="de-DE" sz="1000" smtClean="0">
                <a:solidFill>
                  <a:srgbClr val="000000"/>
                </a:solidFill>
                <a:latin typeface="CorpoS" pitchFamily="2" charset="0"/>
              </a:rPr>
              <a:t>Damage codes</a:t>
            </a:r>
          </a:p>
          <a:p>
            <a:pPr>
              <a:buFontTx/>
              <a:buChar char="•"/>
            </a:pPr>
            <a:r>
              <a:rPr lang="en-US" altLang="de-DE" sz="1000" smtClean="0">
                <a:solidFill>
                  <a:srgbClr val="000000"/>
                </a:solidFill>
                <a:latin typeface="CorpoS" pitchFamily="2" charset="0"/>
              </a:rPr>
              <a:t>Work codes</a:t>
            </a:r>
          </a:p>
          <a:p>
            <a:pPr>
              <a:buFontTx/>
              <a:buChar char="•"/>
            </a:pPr>
            <a:r>
              <a:rPr lang="en-US" altLang="de-DE" sz="1000" smtClean="0">
                <a:solidFill>
                  <a:srgbClr val="000000"/>
                </a:solidFill>
                <a:latin typeface="CorpoS" pitchFamily="2" charset="0"/>
              </a:rPr>
              <a:t>Part numbers</a:t>
            </a:r>
          </a:p>
        </p:txBody>
      </p:sp>
      <p:sp>
        <p:nvSpPr>
          <p:cNvPr id="55" name="Rectangle 27"/>
          <p:cNvSpPr>
            <a:spLocks noChangeArrowheads="1"/>
          </p:cNvSpPr>
          <p:nvPr>
            <p:custDataLst>
              <p:tags r:id="rId14"/>
            </p:custDataLst>
          </p:nvPr>
        </p:nvSpPr>
        <p:spPr bwMode="auto">
          <a:xfrm>
            <a:off x="8067363" y="2015408"/>
            <a:ext cx="1222772" cy="477837"/>
          </a:xfrm>
          <a:prstGeom prst="rect">
            <a:avLst/>
          </a:prstGeom>
          <a:solidFill>
            <a:srgbClr val="3F9AC9"/>
          </a:solidFill>
          <a:ln>
            <a:noFill/>
          </a:ln>
          <a:effectLst/>
          <a:extLst>
            <a:ext uri="{91240B29-F687-4F45-9708-019B960494DF}">
              <a14:hiddenLine xmlns:a14="http://schemas.microsoft.com/office/drawing/2010/main" xmlns="" w="9525" algn="ctr">
                <a:solidFill>
                  <a:srgbClr val="182B45"/>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b="1" smtClean="0">
                <a:solidFill>
                  <a:srgbClr val="FFFFFF"/>
                </a:solidFill>
                <a:latin typeface="CorpoS" pitchFamily="2" charset="0"/>
              </a:rPr>
              <a:t>iCON</a:t>
            </a:r>
          </a:p>
        </p:txBody>
      </p:sp>
      <p:sp>
        <p:nvSpPr>
          <p:cNvPr id="56" name="Rectangle 28"/>
          <p:cNvSpPr>
            <a:spLocks noChangeArrowheads="1"/>
          </p:cNvSpPr>
          <p:nvPr>
            <p:custDataLst>
              <p:tags r:id="rId15"/>
            </p:custDataLst>
          </p:nvPr>
        </p:nvSpPr>
        <p:spPr bwMode="auto">
          <a:xfrm>
            <a:off x="6743123" y="4556994"/>
            <a:ext cx="1250289" cy="407988"/>
          </a:xfrm>
          <a:prstGeom prst="rect">
            <a:avLst/>
          </a:prstGeom>
          <a:solidFill>
            <a:srgbClr val="AFB2B4"/>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r>
              <a:rPr lang="de-DE" altLang="de-DE" sz="1400" smtClean="0">
                <a:solidFill>
                  <a:srgbClr val="000000"/>
                </a:solidFill>
                <a:latin typeface="CorpoS" pitchFamily="2" charset="0"/>
              </a:rPr>
              <a:t>VERA</a:t>
            </a:r>
          </a:p>
        </p:txBody>
      </p:sp>
      <p:sp>
        <p:nvSpPr>
          <p:cNvPr id="57" name="Text Box 29"/>
          <p:cNvSpPr txBox="1">
            <a:spLocks noChangeArrowheads="1"/>
          </p:cNvSpPr>
          <p:nvPr>
            <p:custDataLst>
              <p:tags r:id="rId16"/>
            </p:custDataLst>
          </p:nvPr>
        </p:nvSpPr>
        <p:spPr bwMode="auto">
          <a:xfrm>
            <a:off x="735892" y="5969870"/>
            <a:ext cx="883823" cy="226591"/>
          </a:xfrm>
          <a:prstGeom prst="rect">
            <a:avLst/>
          </a:prstGeom>
          <a:noFill/>
          <a:ln>
            <a:noFill/>
          </a:ln>
          <a:effectLst/>
          <a:extLst>
            <a:ext uri="{909E8E84-426E-40DD-AFC4-6F175D3DCCD1}">
              <a14:hiddenFill xmlns:a14="http://schemas.microsoft.com/office/drawing/2010/main" xmlns="">
                <a:solidFill>
                  <a:srgbClr val="3F9AC9"/>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altLang="de-DE" sz="1000" smtClean="0">
                <a:solidFill>
                  <a:srgbClr val="000000"/>
                </a:solidFill>
                <a:latin typeface="CorpoS" pitchFamily="2" charset="0"/>
              </a:rPr>
              <a:t>iCON to-be Processes</a:t>
            </a:r>
          </a:p>
        </p:txBody>
      </p:sp>
      <p:sp>
        <p:nvSpPr>
          <p:cNvPr id="58" name="AutoShape 30"/>
          <p:cNvSpPr>
            <a:spLocks noChangeArrowheads="1"/>
          </p:cNvSpPr>
          <p:nvPr/>
        </p:nvSpPr>
        <p:spPr bwMode="auto">
          <a:xfrm>
            <a:off x="345498" y="5995270"/>
            <a:ext cx="311283" cy="174625"/>
          </a:xfrm>
          <a:prstGeom prst="chevron">
            <a:avLst>
              <a:gd name="adj" fmla="val 16919"/>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endParaRPr lang="en-US" altLang="de-DE" sz="1200" smtClean="0">
              <a:solidFill>
                <a:srgbClr val="000000"/>
              </a:solidFill>
              <a:latin typeface="CorpoS" pitchFamily="2" charset="0"/>
            </a:endParaRPr>
          </a:p>
        </p:txBody>
      </p:sp>
      <p:sp>
        <p:nvSpPr>
          <p:cNvPr id="59" name="Text Box 31"/>
          <p:cNvSpPr txBox="1">
            <a:spLocks noChangeArrowheads="1"/>
          </p:cNvSpPr>
          <p:nvPr/>
        </p:nvSpPr>
        <p:spPr bwMode="auto">
          <a:xfrm>
            <a:off x="2423007" y="5969870"/>
            <a:ext cx="632152" cy="226591"/>
          </a:xfrm>
          <a:prstGeom prst="rect">
            <a:avLst/>
          </a:prstGeom>
          <a:noFill/>
          <a:ln>
            <a:noFill/>
          </a:ln>
          <a:effectLst/>
          <a:extLst>
            <a:ext uri="{909E8E84-426E-40DD-AFC4-6F175D3DCCD1}">
              <a14:hiddenFill xmlns:a14="http://schemas.microsoft.com/office/drawing/2010/main" xmlns="">
                <a:solidFill>
                  <a:srgbClr val="3F9AC9"/>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altLang="de-DE" sz="1000" smtClean="0">
                <a:solidFill>
                  <a:srgbClr val="000000"/>
                </a:solidFill>
                <a:latin typeface="CorpoS" pitchFamily="2" charset="0"/>
              </a:rPr>
              <a:t>Central System</a:t>
            </a:r>
          </a:p>
        </p:txBody>
      </p:sp>
      <p:sp>
        <p:nvSpPr>
          <p:cNvPr id="60" name="Rectangle 32"/>
          <p:cNvSpPr>
            <a:spLocks noChangeArrowheads="1"/>
          </p:cNvSpPr>
          <p:nvPr/>
        </p:nvSpPr>
        <p:spPr bwMode="auto">
          <a:xfrm>
            <a:off x="2058410" y="5990507"/>
            <a:ext cx="302683" cy="184150"/>
          </a:xfrm>
          <a:prstGeom prst="rect">
            <a:avLst/>
          </a:prstGeom>
          <a:solidFill>
            <a:srgbClr val="AFB2B4"/>
          </a:solidFill>
          <a:ln w="9525" algn="ctr">
            <a:solidFill>
              <a:srgbClr val="AFB2B4"/>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endParaRPr lang="en-US" altLang="de-DE" sz="1400" smtClean="0">
              <a:solidFill>
                <a:srgbClr val="000000"/>
              </a:solidFill>
              <a:latin typeface="CorpoS" pitchFamily="2" charset="0"/>
            </a:endParaRPr>
          </a:p>
        </p:txBody>
      </p:sp>
      <p:sp>
        <p:nvSpPr>
          <p:cNvPr id="61" name="Text Box 33"/>
          <p:cNvSpPr txBox="1">
            <a:spLocks noChangeArrowheads="1"/>
          </p:cNvSpPr>
          <p:nvPr/>
        </p:nvSpPr>
        <p:spPr bwMode="auto">
          <a:xfrm>
            <a:off x="3988017" y="5969870"/>
            <a:ext cx="776422" cy="226591"/>
          </a:xfrm>
          <a:prstGeom prst="rect">
            <a:avLst/>
          </a:prstGeom>
          <a:noFill/>
          <a:ln>
            <a:noFill/>
          </a:ln>
          <a:effectLst/>
          <a:extLst>
            <a:ext uri="{909E8E84-426E-40DD-AFC4-6F175D3DCCD1}">
              <a14:hiddenFill xmlns:a14="http://schemas.microsoft.com/office/drawing/2010/main" xmlns="">
                <a:solidFill>
                  <a:srgbClr val="3F9AC9"/>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altLang="de-DE" sz="1000" smtClean="0">
                <a:solidFill>
                  <a:srgbClr val="000000"/>
                </a:solidFill>
                <a:latin typeface="CorpoS" pitchFamily="2" charset="0"/>
              </a:rPr>
              <a:t>Integration in POS</a:t>
            </a:r>
          </a:p>
        </p:txBody>
      </p:sp>
      <p:sp>
        <p:nvSpPr>
          <p:cNvPr id="62" name="Rectangle 34"/>
          <p:cNvSpPr>
            <a:spLocks noChangeArrowheads="1"/>
          </p:cNvSpPr>
          <p:nvPr/>
        </p:nvSpPr>
        <p:spPr bwMode="auto">
          <a:xfrm>
            <a:off x="3623421" y="5990507"/>
            <a:ext cx="302683" cy="184150"/>
          </a:xfrm>
          <a:prstGeom prst="rect">
            <a:avLst/>
          </a:prstGeom>
          <a:solidFill>
            <a:srgbClr val="CCFF99"/>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endParaRPr lang="en-US" altLang="de-DE" sz="1400" smtClean="0">
              <a:solidFill>
                <a:srgbClr val="000000"/>
              </a:solidFill>
              <a:latin typeface="CorpoS" pitchFamily="2" charset="0"/>
            </a:endParaRPr>
          </a:p>
        </p:txBody>
      </p:sp>
      <p:sp>
        <p:nvSpPr>
          <p:cNvPr id="63" name="Text Box 35"/>
          <p:cNvSpPr txBox="1">
            <a:spLocks noChangeArrowheads="1"/>
          </p:cNvSpPr>
          <p:nvPr>
            <p:custDataLst>
              <p:tags r:id="rId17"/>
            </p:custDataLst>
          </p:nvPr>
        </p:nvSpPr>
        <p:spPr bwMode="auto">
          <a:xfrm>
            <a:off x="6163554" y="5969870"/>
            <a:ext cx="588870" cy="226591"/>
          </a:xfrm>
          <a:prstGeom prst="rect">
            <a:avLst/>
          </a:prstGeom>
          <a:noFill/>
          <a:ln>
            <a:noFill/>
          </a:ln>
          <a:effectLst/>
          <a:extLst>
            <a:ext uri="{909E8E84-426E-40DD-AFC4-6F175D3DCCD1}">
              <a14:hiddenFill xmlns:a14="http://schemas.microsoft.com/office/drawing/2010/main" xmlns="">
                <a:solidFill>
                  <a:srgbClr val="3F9AC9"/>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altLang="de-DE" sz="1000" smtClean="0">
                <a:solidFill>
                  <a:srgbClr val="000000"/>
                </a:solidFill>
                <a:latin typeface="CorpoS" pitchFamily="2" charset="0"/>
              </a:rPr>
              <a:t>iCON System</a:t>
            </a:r>
          </a:p>
        </p:txBody>
      </p:sp>
      <p:sp>
        <p:nvSpPr>
          <p:cNvPr id="64" name="Rectangle 36"/>
          <p:cNvSpPr>
            <a:spLocks noChangeArrowheads="1"/>
          </p:cNvSpPr>
          <p:nvPr>
            <p:custDataLst>
              <p:tags r:id="rId18"/>
            </p:custDataLst>
          </p:nvPr>
        </p:nvSpPr>
        <p:spPr bwMode="auto">
          <a:xfrm>
            <a:off x="5798958" y="5990507"/>
            <a:ext cx="302683" cy="184150"/>
          </a:xfrm>
          <a:prstGeom prst="rect">
            <a:avLst/>
          </a:prstGeom>
          <a:solidFill>
            <a:srgbClr val="3F9AC9"/>
          </a:solidFill>
          <a:ln w="9525" algn="ctr">
            <a:solidFill>
              <a:srgbClr val="182B4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nchor="ctr" anchorCtr="1"/>
          <a:lstStyle/>
          <a:p>
            <a:pPr algn="ctr"/>
            <a:endParaRPr lang="en-US" altLang="de-DE" sz="1400" smtClean="0">
              <a:solidFill>
                <a:srgbClr val="000000"/>
              </a:solidFill>
              <a:latin typeface="CorpoS" pitchFamily="2" charset="0"/>
            </a:endParaRPr>
          </a:p>
        </p:txBody>
      </p:sp>
      <p:sp>
        <p:nvSpPr>
          <p:cNvPr id="65" name="AutoShape 37"/>
          <p:cNvSpPr>
            <a:spLocks noChangeArrowheads="1"/>
          </p:cNvSpPr>
          <p:nvPr>
            <p:custDataLst>
              <p:tags r:id="rId19"/>
            </p:custDataLst>
          </p:nvPr>
        </p:nvSpPr>
        <p:spPr bwMode="auto">
          <a:xfrm>
            <a:off x="1569990" y="1437558"/>
            <a:ext cx="1394752" cy="504825"/>
          </a:xfrm>
          <a:prstGeom prst="chevron">
            <a:avLst>
              <a:gd name="adj" fmla="val 26223"/>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lnSpc>
                <a:spcPct val="90000"/>
              </a:lnSpc>
              <a:buSzPct val="90000"/>
              <a:buFont typeface="Wingdings" pitchFamily="2" charset="2"/>
              <a:buNone/>
            </a:pPr>
            <a:r>
              <a:rPr lang="de-DE" altLang="de-DE" sz="1200" dirty="0" smtClean="0">
                <a:solidFill>
                  <a:srgbClr val="000000"/>
                </a:solidFill>
                <a:latin typeface="CorpoS" pitchFamily="2" charset="0"/>
              </a:rPr>
              <a:t>Service Contract</a:t>
            </a:r>
          </a:p>
          <a:p>
            <a:pPr marL="88900" algn="ctr" eaLnBrk="0" hangingPunct="0">
              <a:lnSpc>
                <a:spcPct val="90000"/>
              </a:lnSpc>
              <a:buSzPct val="90000"/>
              <a:buFont typeface="Wingdings" pitchFamily="2" charset="2"/>
              <a:buNone/>
            </a:pPr>
            <a:r>
              <a:rPr lang="de-DE" altLang="de-DE" sz="1200" dirty="0" smtClean="0">
                <a:solidFill>
                  <a:srgbClr val="000000"/>
                </a:solidFill>
                <a:latin typeface="CorpoS" pitchFamily="2" charset="0"/>
              </a:rPr>
              <a:t>sales</a:t>
            </a:r>
          </a:p>
        </p:txBody>
      </p:sp>
      <p:sp>
        <p:nvSpPr>
          <p:cNvPr id="66" name="AutoShape 38"/>
          <p:cNvSpPr>
            <a:spLocks noChangeArrowheads="1"/>
          </p:cNvSpPr>
          <p:nvPr>
            <p:custDataLst>
              <p:tags r:id="rId20"/>
            </p:custDataLst>
          </p:nvPr>
        </p:nvSpPr>
        <p:spPr bwMode="auto">
          <a:xfrm>
            <a:off x="2851235" y="1437558"/>
            <a:ext cx="1391311" cy="504825"/>
          </a:xfrm>
          <a:prstGeom prst="chevron">
            <a:avLst>
              <a:gd name="adj" fmla="val 26159"/>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r>
              <a:rPr lang="en-US" altLang="de-DE" sz="1100" dirty="0" smtClean="0">
                <a:solidFill>
                  <a:srgbClr val="000000"/>
                </a:solidFill>
                <a:latin typeface="CorpoS" pitchFamily="2" charset="0"/>
              </a:rPr>
              <a:t>Service contract calculation and release</a:t>
            </a:r>
          </a:p>
        </p:txBody>
      </p:sp>
      <p:sp>
        <p:nvSpPr>
          <p:cNvPr id="67" name="AutoShape 39"/>
          <p:cNvSpPr>
            <a:spLocks noChangeArrowheads="1"/>
          </p:cNvSpPr>
          <p:nvPr>
            <p:custDataLst>
              <p:tags r:id="rId21"/>
            </p:custDataLst>
          </p:nvPr>
        </p:nvSpPr>
        <p:spPr bwMode="auto">
          <a:xfrm>
            <a:off x="4132480" y="1437558"/>
            <a:ext cx="1393031" cy="504825"/>
          </a:xfrm>
          <a:prstGeom prst="chevron">
            <a:avLst>
              <a:gd name="adj" fmla="val 26191"/>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lnSpc>
                <a:spcPct val="90000"/>
              </a:lnSpc>
              <a:buSzPct val="90000"/>
              <a:buFont typeface="Wingdings" pitchFamily="2" charset="2"/>
              <a:buNone/>
            </a:pPr>
            <a:r>
              <a:rPr lang="de-DE" altLang="de-DE" sz="1200" smtClean="0">
                <a:solidFill>
                  <a:srgbClr val="000000"/>
                </a:solidFill>
                <a:latin typeface="CorpoS" pitchFamily="2" charset="0"/>
              </a:rPr>
              <a:t>Service contract management</a:t>
            </a:r>
          </a:p>
        </p:txBody>
      </p:sp>
      <p:sp>
        <p:nvSpPr>
          <p:cNvPr id="68" name="AutoShape 40"/>
          <p:cNvSpPr>
            <a:spLocks noChangeArrowheads="1"/>
          </p:cNvSpPr>
          <p:nvPr>
            <p:custDataLst>
              <p:tags r:id="rId22"/>
            </p:custDataLst>
          </p:nvPr>
        </p:nvSpPr>
        <p:spPr bwMode="auto">
          <a:xfrm>
            <a:off x="5424044" y="1437558"/>
            <a:ext cx="1391311" cy="504825"/>
          </a:xfrm>
          <a:prstGeom prst="chevron">
            <a:avLst>
              <a:gd name="adj" fmla="val 26159"/>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lnSpc>
                <a:spcPct val="90000"/>
              </a:lnSpc>
              <a:buSzPct val="90000"/>
              <a:buFont typeface="Wingdings" pitchFamily="2" charset="2"/>
              <a:buNone/>
            </a:pPr>
            <a:r>
              <a:rPr lang="de-DE" altLang="de-DE" sz="1200" smtClean="0">
                <a:solidFill>
                  <a:srgbClr val="000000"/>
                </a:solidFill>
                <a:latin typeface="CorpoS" pitchFamily="2" charset="0"/>
              </a:rPr>
              <a:t>Invoicing</a:t>
            </a:r>
          </a:p>
        </p:txBody>
      </p:sp>
      <p:sp>
        <p:nvSpPr>
          <p:cNvPr id="69" name="AutoShape 41"/>
          <p:cNvSpPr>
            <a:spLocks noChangeArrowheads="1"/>
          </p:cNvSpPr>
          <p:nvPr>
            <p:custDataLst>
              <p:tags r:id="rId23"/>
            </p:custDataLst>
          </p:nvPr>
        </p:nvSpPr>
        <p:spPr bwMode="auto">
          <a:xfrm>
            <a:off x="6713887" y="1437558"/>
            <a:ext cx="1394751" cy="504825"/>
          </a:xfrm>
          <a:prstGeom prst="chevron">
            <a:avLst>
              <a:gd name="adj" fmla="val 26223"/>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lnSpc>
                <a:spcPct val="90000"/>
              </a:lnSpc>
              <a:buSzPct val="90000"/>
              <a:buFont typeface="Wingdings" pitchFamily="2" charset="2"/>
              <a:buNone/>
            </a:pPr>
            <a:r>
              <a:rPr lang="de-DE" altLang="de-DE" sz="1200" smtClean="0">
                <a:solidFill>
                  <a:srgbClr val="000000"/>
                </a:solidFill>
                <a:latin typeface="CorpoS" pitchFamily="2" charset="0"/>
              </a:rPr>
              <a:t>Claim </a:t>
            </a:r>
          </a:p>
          <a:p>
            <a:pPr marL="88900" algn="ctr" eaLnBrk="0" hangingPunct="0">
              <a:lnSpc>
                <a:spcPct val="90000"/>
              </a:lnSpc>
              <a:buSzPct val="90000"/>
              <a:buFont typeface="Wingdings" pitchFamily="2" charset="2"/>
              <a:buNone/>
            </a:pPr>
            <a:r>
              <a:rPr lang="de-DE" altLang="de-DE" sz="1200" smtClean="0">
                <a:solidFill>
                  <a:srgbClr val="000000"/>
                </a:solidFill>
                <a:latin typeface="CorpoS" pitchFamily="2" charset="0"/>
              </a:rPr>
              <a:t>processing</a:t>
            </a:r>
          </a:p>
        </p:txBody>
      </p:sp>
      <p:sp>
        <p:nvSpPr>
          <p:cNvPr id="70" name="AutoShape 42"/>
          <p:cNvSpPr>
            <a:spLocks noChangeArrowheads="1"/>
          </p:cNvSpPr>
          <p:nvPr>
            <p:custDataLst>
              <p:tags r:id="rId24"/>
            </p:custDataLst>
          </p:nvPr>
        </p:nvSpPr>
        <p:spPr bwMode="auto">
          <a:xfrm>
            <a:off x="8003731" y="1437558"/>
            <a:ext cx="1391311" cy="504825"/>
          </a:xfrm>
          <a:prstGeom prst="chevron">
            <a:avLst>
              <a:gd name="adj" fmla="val 26159"/>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lnSpc>
                <a:spcPct val="90000"/>
              </a:lnSpc>
              <a:buSzPct val="90000"/>
              <a:buFont typeface="Wingdings" pitchFamily="2" charset="2"/>
              <a:buNone/>
            </a:pPr>
            <a:r>
              <a:rPr lang="de-DE" altLang="de-DE" sz="1100" dirty="0" smtClean="0">
                <a:solidFill>
                  <a:srgbClr val="000000"/>
                </a:solidFill>
                <a:latin typeface="CorpoS" pitchFamily="2" charset="0"/>
              </a:rPr>
              <a:t>Service </a:t>
            </a:r>
            <a:r>
              <a:rPr lang="de-DE" altLang="de-DE" sz="1100" dirty="0" err="1" smtClean="0">
                <a:solidFill>
                  <a:srgbClr val="000000"/>
                </a:solidFill>
                <a:latin typeface="CorpoS" pitchFamily="2" charset="0"/>
              </a:rPr>
              <a:t>contract</a:t>
            </a:r>
            <a:r>
              <a:rPr lang="de-DE" altLang="de-DE" sz="1100" dirty="0" smtClean="0">
                <a:solidFill>
                  <a:srgbClr val="000000"/>
                </a:solidFill>
                <a:latin typeface="CorpoS" pitchFamily="2" charset="0"/>
              </a:rPr>
              <a:t> </a:t>
            </a:r>
            <a:r>
              <a:rPr lang="de-DE" altLang="de-DE" sz="1100" dirty="0" err="1" smtClean="0">
                <a:solidFill>
                  <a:srgbClr val="000000"/>
                </a:solidFill>
                <a:latin typeface="CorpoS" pitchFamily="2" charset="0"/>
              </a:rPr>
              <a:t>process</a:t>
            </a:r>
            <a:r>
              <a:rPr lang="de-DE" altLang="de-DE" sz="1100" dirty="0" smtClean="0">
                <a:solidFill>
                  <a:srgbClr val="000000"/>
                </a:solidFill>
                <a:latin typeface="CorpoS" pitchFamily="2" charset="0"/>
              </a:rPr>
              <a:t> </a:t>
            </a:r>
            <a:r>
              <a:rPr lang="de-DE" altLang="de-DE" sz="1100" dirty="0" err="1" smtClean="0">
                <a:solidFill>
                  <a:srgbClr val="000000"/>
                </a:solidFill>
                <a:latin typeface="CorpoS" pitchFamily="2" charset="0"/>
              </a:rPr>
              <a:t>controlling</a:t>
            </a:r>
            <a:endParaRPr lang="de-DE" altLang="de-DE" sz="1100" dirty="0" smtClean="0">
              <a:solidFill>
                <a:srgbClr val="000000"/>
              </a:solidFill>
              <a:latin typeface="CorpoS" pitchFamily="2" charset="0"/>
            </a:endParaRPr>
          </a:p>
        </p:txBody>
      </p:sp>
      <p:sp>
        <p:nvSpPr>
          <p:cNvPr id="71" name="Text Box 43"/>
          <p:cNvSpPr txBox="1">
            <a:spLocks noChangeArrowheads="1"/>
          </p:cNvSpPr>
          <p:nvPr>
            <p:custDataLst>
              <p:tags r:id="rId25"/>
            </p:custDataLst>
          </p:nvPr>
        </p:nvSpPr>
        <p:spPr bwMode="auto">
          <a:xfrm>
            <a:off x="268108" y="4134719"/>
            <a:ext cx="266667" cy="25736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de-DE" sz="1200" smtClean="0">
                <a:solidFill>
                  <a:srgbClr val="666666"/>
                </a:solidFill>
                <a:latin typeface="CorpoS" pitchFamily="2" charset="0"/>
              </a:rPr>
              <a:t>GSP</a:t>
            </a:r>
          </a:p>
        </p:txBody>
      </p:sp>
      <p:sp>
        <p:nvSpPr>
          <p:cNvPr id="72" name="Text Box 44"/>
          <p:cNvSpPr txBox="1">
            <a:spLocks noChangeArrowheads="1"/>
          </p:cNvSpPr>
          <p:nvPr>
            <p:custDataLst>
              <p:tags r:id="rId26"/>
            </p:custDataLst>
          </p:nvPr>
        </p:nvSpPr>
        <p:spPr bwMode="auto">
          <a:xfrm>
            <a:off x="274987" y="4639544"/>
            <a:ext cx="574444" cy="25736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de-DE" sz="1200" smtClean="0">
                <a:solidFill>
                  <a:srgbClr val="666666"/>
                </a:solidFill>
                <a:latin typeface="CorpoS" pitchFamily="2" charset="0"/>
              </a:rPr>
              <a:t>Controlling</a:t>
            </a:r>
          </a:p>
        </p:txBody>
      </p:sp>
      <p:sp>
        <p:nvSpPr>
          <p:cNvPr id="73" name="Text Box 45"/>
          <p:cNvSpPr txBox="1">
            <a:spLocks noChangeArrowheads="1"/>
          </p:cNvSpPr>
          <p:nvPr>
            <p:custDataLst>
              <p:tags r:id="rId27"/>
            </p:custDataLst>
          </p:nvPr>
        </p:nvSpPr>
        <p:spPr bwMode="auto">
          <a:xfrm>
            <a:off x="268108" y="3088557"/>
            <a:ext cx="883823" cy="39586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de-DE" sz="1200" smtClean="0">
                <a:solidFill>
                  <a:srgbClr val="666666"/>
                </a:solidFill>
                <a:latin typeface="CorpoS" pitchFamily="2" charset="0"/>
              </a:rPr>
              <a:t>Sales Organisation</a:t>
            </a:r>
            <a:br>
              <a:rPr lang="en-GB" altLang="de-DE" sz="1200" smtClean="0">
                <a:solidFill>
                  <a:srgbClr val="666666"/>
                </a:solidFill>
                <a:latin typeface="CorpoS" pitchFamily="2" charset="0"/>
              </a:rPr>
            </a:br>
            <a:r>
              <a:rPr lang="en-GB" altLang="de-DE" sz="900" smtClean="0">
                <a:solidFill>
                  <a:srgbClr val="666666"/>
                </a:solidFill>
                <a:latin typeface="CorpoS" pitchFamily="2" charset="0"/>
              </a:rPr>
              <a:t>(for CVs: CW)</a:t>
            </a:r>
          </a:p>
        </p:txBody>
      </p:sp>
      <p:sp>
        <p:nvSpPr>
          <p:cNvPr id="74" name="Text Box 46"/>
          <p:cNvSpPr txBox="1">
            <a:spLocks noChangeArrowheads="1"/>
          </p:cNvSpPr>
          <p:nvPr>
            <p:custDataLst>
              <p:tags r:id="rId28"/>
            </p:custDataLst>
          </p:nvPr>
        </p:nvSpPr>
        <p:spPr bwMode="auto">
          <a:xfrm>
            <a:off x="274988" y="3631483"/>
            <a:ext cx="805276" cy="25736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de-DE" sz="1200" smtClean="0">
                <a:solidFill>
                  <a:srgbClr val="666666"/>
                </a:solidFill>
                <a:latin typeface="CorpoS" pitchFamily="2" charset="0"/>
              </a:rPr>
              <a:t>Local After Sales</a:t>
            </a:r>
          </a:p>
        </p:txBody>
      </p:sp>
      <p:sp>
        <p:nvSpPr>
          <p:cNvPr id="75" name="Text Box 47"/>
          <p:cNvSpPr txBox="1">
            <a:spLocks noChangeArrowheads="1"/>
          </p:cNvSpPr>
          <p:nvPr>
            <p:custDataLst>
              <p:tags r:id="rId29"/>
            </p:custDataLst>
          </p:nvPr>
        </p:nvSpPr>
        <p:spPr bwMode="auto">
          <a:xfrm>
            <a:off x="268108" y="5142783"/>
            <a:ext cx="585664" cy="25736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de-DE" sz="1200" smtClean="0">
                <a:solidFill>
                  <a:srgbClr val="666666"/>
                </a:solidFill>
                <a:latin typeface="CorpoS" pitchFamily="2" charset="0"/>
              </a:rPr>
              <a:t>Master data</a:t>
            </a:r>
          </a:p>
        </p:txBody>
      </p:sp>
      <p:sp>
        <p:nvSpPr>
          <p:cNvPr id="76" name="Text Box 48"/>
          <p:cNvSpPr txBox="1">
            <a:spLocks noChangeArrowheads="1"/>
          </p:cNvSpPr>
          <p:nvPr>
            <p:custDataLst>
              <p:tags r:id="rId30"/>
            </p:custDataLst>
          </p:nvPr>
        </p:nvSpPr>
        <p:spPr bwMode="auto">
          <a:xfrm>
            <a:off x="268108" y="2197969"/>
            <a:ext cx="271475" cy="25736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de-DE" sz="1200" smtClean="0">
                <a:solidFill>
                  <a:srgbClr val="666666"/>
                </a:solidFill>
                <a:latin typeface="CorpoS" pitchFamily="2" charset="0"/>
              </a:rPr>
              <a:t>POS</a:t>
            </a:r>
          </a:p>
        </p:txBody>
      </p:sp>
      <p:sp>
        <p:nvSpPr>
          <p:cNvPr id="77" name="Text Box 49"/>
          <p:cNvSpPr txBox="1">
            <a:spLocks noChangeArrowheads="1"/>
          </p:cNvSpPr>
          <p:nvPr>
            <p:custDataLst>
              <p:tags r:id="rId31"/>
            </p:custDataLst>
          </p:nvPr>
        </p:nvSpPr>
        <p:spPr bwMode="auto">
          <a:xfrm>
            <a:off x="268108" y="2621833"/>
            <a:ext cx="404525" cy="25736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de-DE" sz="1200" smtClean="0">
                <a:solidFill>
                  <a:srgbClr val="666666"/>
                </a:solidFill>
                <a:latin typeface="CorpoS" pitchFamily="2" charset="0"/>
              </a:rPr>
              <a:t>Retailer</a:t>
            </a:r>
          </a:p>
        </p:txBody>
      </p:sp>
      <p:sp>
        <p:nvSpPr>
          <p:cNvPr id="78" name="Fußzeilenplatzhalter 1"/>
          <p:cNvSpPr>
            <a:spLocks noGrp="1"/>
          </p:cNvSpPr>
          <p:nvPr>
            <p:ph type="ftr" sz="quarter" idx="3"/>
          </p:nvPr>
        </p:nvSpPr>
        <p:spPr>
          <a:xfrm>
            <a:off x="428232" y="6548459"/>
            <a:ext cx="6184345" cy="306387"/>
          </a:xfrm>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de-DE" dirty="0" err="1" smtClean="0">
                <a:solidFill>
                  <a:srgbClr val="000000"/>
                </a:solidFill>
                <a:latin typeface="CorpoS" pitchFamily="2" charset="0"/>
              </a:rPr>
              <a:t>iCON</a:t>
            </a:r>
            <a:r>
              <a:rPr lang="en-US" altLang="de-DE" dirty="0" smtClean="0">
                <a:solidFill>
                  <a:srgbClr val="000000"/>
                </a:solidFill>
                <a:latin typeface="CorpoS" pitchFamily="2" charset="0"/>
              </a:rPr>
              <a:t> | </a:t>
            </a:r>
            <a:r>
              <a:rPr lang="en-US" altLang="de-DE" dirty="0" err="1" smtClean="0">
                <a:solidFill>
                  <a:srgbClr val="000000"/>
                </a:solidFill>
                <a:latin typeface="CorpoS" pitchFamily="2" charset="0"/>
              </a:rPr>
              <a:t>KickOff</a:t>
            </a:r>
            <a:r>
              <a:rPr lang="en-US" altLang="de-DE" dirty="0" smtClean="0">
                <a:solidFill>
                  <a:srgbClr val="000000"/>
                </a:solidFill>
                <a:latin typeface="CorpoS" pitchFamily="2" charset="0"/>
              </a:rPr>
              <a:t> &amp; Introduction | 28.10.2013</a:t>
            </a:r>
            <a:endParaRPr lang="de-DE" altLang="de-DE" dirty="0" smtClean="0">
              <a:solidFill>
                <a:srgbClr val="000000"/>
              </a:solidFill>
              <a:latin typeface="CorpoS" pitchFamily="2" charset="0"/>
            </a:endParaRPr>
          </a:p>
        </p:txBody>
      </p:sp>
      <p:sp>
        <p:nvSpPr>
          <p:cNvPr id="79" name="Foliennummernplatzhalter 2"/>
          <p:cNvSpPr>
            <a:spLocks noGrp="1"/>
          </p:cNvSpPr>
          <p:nvPr>
            <p:ph type="sldNum" sz="quarter" idx="4"/>
          </p:nvPr>
        </p:nvSpPr>
        <p:spPr>
          <a:xfrm>
            <a:off x="92880" y="6628767"/>
            <a:ext cx="273447" cy="145770"/>
          </a:xfrm>
        </p:spPr>
        <p:txBody>
          <a:bodyPr/>
          <a:lstStyle/>
          <a:p>
            <a:pPr>
              <a:defRPr/>
            </a:pPr>
            <a:fld id="{B3740903-BA6A-4AB4-B149-31FA73EE6E18}" type="slidenum">
              <a:rPr lang="de-DE" smtClean="0"/>
              <a:pPr>
                <a:defRPr/>
              </a:pPr>
              <a:t>10</a:t>
            </a:fld>
            <a:endParaRPr lang="de-DE"/>
          </a:p>
        </p:txBody>
      </p:sp>
    </p:spTree>
    <p:extLst>
      <p:ext uri="{BB962C8B-B14F-4D97-AF65-F5344CB8AC3E}">
        <p14:creationId xmlns:p14="http://schemas.microsoft.com/office/powerpoint/2010/main" xmlns="" val="32092927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de-DE"/>
          </a:p>
        </p:txBody>
      </p:sp>
      <p:sp>
        <p:nvSpPr>
          <p:cNvPr id="3" name="Footer Placeholder 2"/>
          <p:cNvSpPr>
            <a:spLocks noGrp="1"/>
          </p:cNvSpPr>
          <p:nvPr>
            <p:ph type="ftr" sz="quarter" idx="3"/>
          </p:nvPr>
        </p:nvSpPr>
        <p:spPr/>
        <p:txBody>
          <a:bodyPr/>
          <a:lstStyle/>
          <a:p>
            <a:pPr>
              <a:defRPr/>
            </a:pPr>
            <a:r>
              <a:rPr lang="en-US" smtClean="0"/>
              <a:t>iCON | TP2 Skribbles | 28.10.2013</a:t>
            </a:r>
            <a:endParaRPr lang="de-DE" dirty="0"/>
          </a:p>
        </p:txBody>
      </p:sp>
      <p:sp>
        <p:nvSpPr>
          <p:cNvPr id="4" name="Slide Number Placeholder 3"/>
          <p:cNvSpPr>
            <a:spLocks noGrp="1"/>
          </p:cNvSpPr>
          <p:nvPr>
            <p:ph type="sldNum" sz="quarter" idx="4"/>
          </p:nvPr>
        </p:nvSpPr>
        <p:spPr/>
        <p:txBody>
          <a:bodyPr/>
          <a:lstStyle/>
          <a:p>
            <a:pPr>
              <a:defRPr/>
            </a:pPr>
            <a:fld id="{B3740903-BA6A-4AB4-B149-31FA73EE6E18}" type="slidenum">
              <a:rPr lang="de-DE" smtClean="0"/>
              <a:pPr>
                <a:defRPr/>
              </a:pPr>
              <a:t>11</a:t>
            </a:fld>
            <a:endParaRPr lang="de-DE"/>
          </a:p>
        </p:txBody>
      </p:sp>
      <p:sp>
        <p:nvSpPr>
          <p:cNvPr id="5" name="AutoShape 5"/>
          <p:cNvSpPr>
            <a:spLocks noChangeArrowheads="1"/>
          </p:cNvSpPr>
          <p:nvPr>
            <p:custDataLst>
              <p:tags r:id="rId1"/>
            </p:custDataLst>
          </p:nvPr>
        </p:nvSpPr>
        <p:spPr bwMode="auto">
          <a:xfrm>
            <a:off x="704410" y="1556740"/>
            <a:ext cx="2520350" cy="1152160"/>
          </a:xfrm>
          <a:prstGeom prst="chevron">
            <a:avLst>
              <a:gd name="adj" fmla="val 27840"/>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r>
              <a:rPr lang="en-US" altLang="de-DE" sz="1400" dirty="0" smtClean="0">
                <a:solidFill>
                  <a:srgbClr val="000000"/>
                </a:solidFill>
              </a:rPr>
              <a:t>1. Service Contract sales</a:t>
            </a:r>
          </a:p>
        </p:txBody>
      </p:sp>
      <p:sp>
        <p:nvSpPr>
          <p:cNvPr id="7" name="Rectangle 6"/>
          <p:cNvSpPr/>
          <p:nvPr/>
        </p:nvSpPr>
        <p:spPr>
          <a:xfrm>
            <a:off x="3728830" y="1484730"/>
            <a:ext cx="4953000" cy="1258871"/>
          </a:xfrm>
          <a:prstGeom prst="rect">
            <a:avLst/>
          </a:prstGeom>
        </p:spPr>
        <p:txBody>
          <a:bodyPr>
            <a:spAutoFit/>
          </a:bodyPr>
          <a:lstStyle/>
          <a:p>
            <a:pPr marL="88900" indent="-88900">
              <a:lnSpc>
                <a:spcPct val="110000"/>
              </a:lnSpc>
              <a:buFontTx/>
              <a:buChar char="•"/>
            </a:pPr>
            <a:r>
              <a:rPr lang="en-US" altLang="de-DE" sz="1400" dirty="0" smtClean="0">
                <a:solidFill>
                  <a:srgbClr val="000000"/>
                </a:solidFill>
              </a:rPr>
              <a:t>Data  is supplied for costing, pricing and vehicle master data</a:t>
            </a:r>
            <a:endParaRPr lang="de-DE" altLang="de-DE" sz="1400" dirty="0" smtClean="0">
              <a:solidFill>
                <a:srgbClr val="000000"/>
              </a:solidFill>
              <a:sym typeface="Wingdings" pitchFamily="2" charset="2"/>
            </a:endParaRPr>
          </a:p>
          <a:p>
            <a:pPr marL="88900" indent="-88900">
              <a:lnSpc>
                <a:spcPct val="110000"/>
              </a:lnSpc>
              <a:buFontTx/>
              <a:buChar char="•"/>
            </a:pPr>
            <a:r>
              <a:rPr lang="en-US" altLang="de-DE" sz="1400" dirty="0" smtClean="0">
                <a:solidFill>
                  <a:srgbClr val="000000"/>
                </a:solidFill>
              </a:rPr>
              <a:t>Supply of a service for offer generation in POS</a:t>
            </a:r>
          </a:p>
          <a:p>
            <a:pPr marL="88900" indent="-88900">
              <a:lnSpc>
                <a:spcPct val="110000"/>
              </a:lnSpc>
              <a:buFontTx/>
              <a:buChar char="•"/>
            </a:pPr>
            <a:r>
              <a:rPr lang="de-DE" altLang="de-DE" sz="1400" dirty="0" smtClean="0">
                <a:solidFill>
                  <a:srgbClr val="000000"/>
                </a:solidFill>
              </a:rPr>
              <a:t>Separate calculation methods for trucks, vans, cars etc.</a:t>
            </a:r>
          </a:p>
          <a:p>
            <a:pPr marL="88900" indent="-88900">
              <a:lnSpc>
                <a:spcPct val="110000"/>
              </a:lnSpc>
              <a:buFontTx/>
              <a:buChar char="•"/>
            </a:pPr>
            <a:r>
              <a:rPr lang="de-DE" altLang="de-DE" sz="1400" dirty="0" smtClean="0">
                <a:solidFill>
                  <a:srgbClr val="000000"/>
                </a:solidFill>
              </a:rPr>
              <a:t>Market-specific options</a:t>
            </a:r>
          </a:p>
        </p:txBody>
      </p:sp>
      <p:sp>
        <p:nvSpPr>
          <p:cNvPr id="8" name="AutoShape 5"/>
          <p:cNvSpPr>
            <a:spLocks noChangeArrowheads="1"/>
          </p:cNvSpPr>
          <p:nvPr>
            <p:custDataLst>
              <p:tags r:id="rId2"/>
            </p:custDataLst>
          </p:nvPr>
        </p:nvSpPr>
        <p:spPr bwMode="auto">
          <a:xfrm>
            <a:off x="704410" y="4869200"/>
            <a:ext cx="2520350" cy="1152160"/>
          </a:xfrm>
          <a:prstGeom prst="chevron">
            <a:avLst>
              <a:gd name="adj" fmla="val 27840"/>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r>
              <a:rPr lang="en-US" altLang="de-DE" sz="1400" dirty="0" smtClean="0">
                <a:solidFill>
                  <a:srgbClr val="000000"/>
                </a:solidFill>
              </a:rPr>
              <a:t>2. SC calculation and release</a:t>
            </a:r>
          </a:p>
        </p:txBody>
      </p:sp>
      <p:sp>
        <p:nvSpPr>
          <p:cNvPr id="9" name="Rectangle 8"/>
          <p:cNvSpPr/>
          <p:nvPr/>
        </p:nvSpPr>
        <p:spPr>
          <a:xfrm>
            <a:off x="3800840" y="4797190"/>
            <a:ext cx="4953000" cy="547907"/>
          </a:xfrm>
          <a:prstGeom prst="rect">
            <a:avLst/>
          </a:prstGeom>
        </p:spPr>
        <p:txBody>
          <a:bodyPr>
            <a:spAutoFit/>
          </a:bodyPr>
          <a:lstStyle/>
          <a:p>
            <a:pPr marL="88900" indent="-88900">
              <a:lnSpc>
                <a:spcPct val="110000"/>
              </a:lnSpc>
              <a:buFontTx/>
              <a:buChar char="•"/>
            </a:pPr>
            <a:r>
              <a:rPr lang="en-US" altLang="de-DE" sz="1400" dirty="0" smtClean="0">
                <a:solidFill>
                  <a:srgbClr val="000000"/>
                </a:solidFill>
                <a:latin typeface="+mj-lt"/>
              </a:rPr>
              <a:t>Contract acceptance by mutual declaration of intention</a:t>
            </a:r>
          </a:p>
          <a:p>
            <a:pPr marL="88900" indent="-88900">
              <a:lnSpc>
                <a:spcPct val="110000"/>
              </a:lnSpc>
              <a:buFontTx/>
              <a:buChar char="•"/>
            </a:pPr>
            <a:r>
              <a:rPr lang="en-US" altLang="de-DE" sz="1400" dirty="0" smtClean="0">
                <a:solidFill>
                  <a:srgbClr val="000000"/>
                </a:solidFill>
                <a:latin typeface="+mj-lt"/>
              </a:rPr>
              <a:t>Adaption and confirmation workflow for special cases</a:t>
            </a:r>
            <a:endParaRPr lang="de-DE" altLang="de-DE" sz="1400" dirty="0" smtClean="0">
              <a:solidFill>
                <a:srgbClr val="000000"/>
              </a:solidFill>
              <a:latin typeface="+mj-lt"/>
            </a:endParaRPr>
          </a:p>
        </p:txBody>
      </p:sp>
      <p:cxnSp>
        <p:nvCxnSpPr>
          <p:cNvPr id="11" name="Straight Connector 10"/>
          <p:cNvCxnSpPr/>
          <p:nvPr/>
        </p:nvCxnSpPr>
        <p:spPr>
          <a:xfrm>
            <a:off x="560390" y="4221110"/>
            <a:ext cx="8353160" cy="0"/>
          </a:xfrm>
          <a:prstGeom prst="line">
            <a:avLst/>
          </a:prstGeom>
          <a:ln>
            <a:solidFill>
              <a:srgbClr val="00B0F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3" name="Title 50"/>
          <p:cNvSpPr txBox="1">
            <a:spLocks/>
          </p:cNvSpPr>
          <p:nvPr/>
        </p:nvSpPr>
        <p:spPr>
          <a:xfrm>
            <a:off x="1" y="0"/>
            <a:ext cx="9905999" cy="1002135"/>
          </a:xfrm>
          <a:prstGeom prst="rect">
            <a:avLst/>
          </a:prstGeom>
        </p:spPr>
        <p:txBody>
          <a:bodyPr/>
          <a:lstStyle/>
          <a:p>
            <a:pPr marL="0" marR="0" lvl="0" indent="0" algn="l" defTabSz="914342"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smtClean="0">
              <a:ln>
                <a:noFill/>
              </a:ln>
              <a:solidFill>
                <a:schemeClr val="tx1"/>
              </a:solidFill>
              <a:effectLst/>
              <a:uLnTx/>
              <a:uFillTx/>
              <a:latin typeface="+mj-lt"/>
              <a:ea typeface="+mj-ea"/>
              <a:cs typeface="+mj-cs"/>
            </a:endParaRPr>
          </a:p>
          <a:p>
            <a:pPr marL="0" marR="0" lvl="0" indent="0" algn="l" defTabSz="914342"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smtClean="0">
                <a:ln>
                  <a:noFill/>
                </a:ln>
                <a:solidFill>
                  <a:schemeClr val="tx1"/>
                </a:solidFill>
                <a:effectLst/>
                <a:uLnTx/>
                <a:uFillTx/>
                <a:latin typeface="+mj-lt"/>
                <a:ea typeface="+mj-ea"/>
                <a:cs typeface="+mj-cs"/>
              </a:rPr>
              <a:t>iCON Process Descriptions </a:t>
            </a:r>
            <a:endParaRPr kumimoji="0" lang="en-US" sz="20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de-DE"/>
          </a:p>
        </p:txBody>
      </p:sp>
      <p:sp>
        <p:nvSpPr>
          <p:cNvPr id="3" name="Footer Placeholder 2"/>
          <p:cNvSpPr>
            <a:spLocks noGrp="1"/>
          </p:cNvSpPr>
          <p:nvPr>
            <p:ph type="ftr" sz="quarter" idx="3"/>
          </p:nvPr>
        </p:nvSpPr>
        <p:spPr/>
        <p:txBody>
          <a:bodyPr/>
          <a:lstStyle/>
          <a:p>
            <a:pPr>
              <a:defRPr/>
            </a:pPr>
            <a:r>
              <a:rPr lang="en-US" smtClean="0"/>
              <a:t>iCON | TP2 Skribbles | 28.10.2013</a:t>
            </a:r>
            <a:endParaRPr lang="de-DE" dirty="0"/>
          </a:p>
        </p:txBody>
      </p:sp>
      <p:sp>
        <p:nvSpPr>
          <p:cNvPr id="4" name="Slide Number Placeholder 3"/>
          <p:cNvSpPr>
            <a:spLocks noGrp="1"/>
          </p:cNvSpPr>
          <p:nvPr>
            <p:ph type="sldNum" sz="quarter" idx="4"/>
          </p:nvPr>
        </p:nvSpPr>
        <p:spPr/>
        <p:txBody>
          <a:bodyPr/>
          <a:lstStyle/>
          <a:p>
            <a:pPr>
              <a:defRPr/>
            </a:pPr>
            <a:fld id="{B3740903-BA6A-4AB4-B149-31FA73EE6E18}" type="slidenum">
              <a:rPr lang="de-DE" smtClean="0"/>
              <a:pPr>
                <a:defRPr/>
              </a:pPr>
              <a:t>12</a:t>
            </a:fld>
            <a:endParaRPr lang="de-DE"/>
          </a:p>
        </p:txBody>
      </p:sp>
      <p:sp>
        <p:nvSpPr>
          <p:cNvPr id="5" name="AutoShape 5"/>
          <p:cNvSpPr>
            <a:spLocks noChangeArrowheads="1"/>
          </p:cNvSpPr>
          <p:nvPr>
            <p:custDataLst>
              <p:tags r:id="rId1"/>
            </p:custDataLst>
          </p:nvPr>
        </p:nvSpPr>
        <p:spPr bwMode="auto">
          <a:xfrm>
            <a:off x="992450" y="1340710"/>
            <a:ext cx="2520350" cy="1152160"/>
          </a:xfrm>
          <a:prstGeom prst="chevron">
            <a:avLst>
              <a:gd name="adj" fmla="val 27840"/>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r>
              <a:rPr lang="en-US" altLang="de-DE" sz="1400" dirty="0" smtClean="0">
                <a:solidFill>
                  <a:srgbClr val="000000"/>
                </a:solidFill>
              </a:rPr>
              <a:t>3. SC management</a:t>
            </a:r>
          </a:p>
        </p:txBody>
      </p:sp>
      <p:sp>
        <p:nvSpPr>
          <p:cNvPr id="6" name="Rectangle 5"/>
          <p:cNvSpPr/>
          <p:nvPr/>
        </p:nvSpPr>
        <p:spPr>
          <a:xfrm>
            <a:off x="3944860" y="1340710"/>
            <a:ext cx="4953000" cy="1495859"/>
          </a:xfrm>
          <a:prstGeom prst="rect">
            <a:avLst/>
          </a:prstGeom>
        </p:spPr>
        <p:txBody>
          <a:bodyPr>
            <a:spAutoFit/>
          </a:bodyPr>
          <a:lstStyle/>
          <a:p>
            <a:pPr marL="85725" indent="-85725">
              <a:lnSpc>
                <a:spcPct val="110000"/>
              </a:lnSpc>
              <a:buFontTx/>
              <a:buChar char="•"/>
            </a:pPr>
            <a:r>
              <a:rPr lang="de-DE" altLang="de-DE" sz="1400" dirty="0" smtClean="0">
                <a:solidFill>
                  <a:srgbClr val="000000"/>
                </a:solidFill>
                <a:latin typeface="+mj-lt"/>
              </a:rPr>
              <a:t>Contract activation</a:t>
            </a:r>
          </a:p>
          <a:p>
            <a:pPr marL="85725" indent="-85725">
              <a:lnSpc>
                <a:spcPct val="110000"/>
              </a:lnSpc>
              <a:buFontTx/>
              <a:buChar char="•"/>
            </a:pPr>
            <a:r>
              <a:rPr lang="de-DE" altLang="de-DE" sz="1400" dirty="0" smtClean="0">
                <a:solidFill>
                  <a:srgbClr val="000000"/>
                </a:solidFill>
                <a:latin typeface="+mj-lt"/>
              </a:rPr>
              <a:t>Customer and contract administration</a:t>
            </a:r>
          </a:p>
          <a:p>
            <a:pPr marL="85725" indent="-85725">
              <a:lnSpc>
                <a:spcPct val="110000"/>
              </a:lnSpc>
              <a:buFontTx/>
              <a:buChar char="•"/>
            </a:pPr>
            <a:r>
              <a:rPr lang="de-DE" altLang="de-DE" sz="1400" dirty="0" smtClean="0">
                <a:solidFill>
                  <a:srgbClr val="000000"/>
                </a:solidFill>
                <a:latin typeface="+mj-lt"/>
              </a:rPr>
              <a:t>Contract extension</a:t>
            </a:r>
          </a:p>
          <a:p>
            <a:pPr marL="85725" indent="-85725">
              <a:lnSpc>
                <a:spcPct val="110000"/>
              </a:lnSpc>
              <a:buFontTx/>
              <a:buChar char="•"/>
            </a:pPr>
            <a:r>
              <a:rPr lang="de-DE" altLang="de-DE" sz="1400" dirty="0" smtClean="0">
                <a:solidFill>
                  <a:srgbClr val="000000"/>
                </a:solidFill>
                <a:latin typeface="+mj-lt"/>
              </a:rPr>
              <a:t>Contract termination</a:t>
            </a:r>
          </a:p>
          <a:p>
            <a:pPr marL="85725" indent="-85725">
              <a:lnSpc>
                <a:spcPct val="110000"/>
              </a:lnSpc>
              <a:buFontTx/>
              <a:buChar char="•"/>
            </a:pPr>
            <a:r>
              <a:rPr lang="de-DE" altLang="de-DE" sz="1400" dirty="0" smtClean="0">
                <a:solidFill>
                  <a:srgbClr val="000000"/>
                </a:solidFill>
                <a:latin typeface="+mj-lt"/>
              </a:rPr>
              <a:t>Contract takeover</a:t>
            </a:r>
          </a:p>
          <a:p>
            <a:pPr marL="85725" indent="-85725">
              <a:lnSpc>
                <a:spcPct val="110000"/>
              </a:lnSpc>
              <a:buFontTx/>
              <a:buChar char="•"/>
            </a:pPr>
            <a:r>
              <a:rPr lang="en-US" altLang="de-DE" sz="1400" dirty="0" smtClean="0">
                <a:solidFill>
                  <a:srgbClr val="000000"/>
                </a:solidFill>
                <a:latin typeface="+mj-lt"/>
              </a:rPr>
              <a:t>Administration of contract-related products (fuel cards, etc.) </a:t>
            </a:r>
          </a:p>
        </p:txBody>
      </p:sp>
      <p:cxnSp>
        <p:nvCxnSpPr>
          <p:cNvPr id="7" name="Straight Connector 6"/>
          <p:cNvCxnSpPr/>
          <p:nvPr/>
        </p:nvCxnSpPr>
        <p:spPr>
          <a:xfrm>
            <a:off x="632400" y="4005080"/>
            <a:ext cx="8353160" cy="0"/>
          </a:xfrm>
          <a:prstGeom prst="line">
            <a:avLst/>
          </a:prstGeom>
          <a:ln>
            <a:solidFill>
              <a:srgbClr val="00B0F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8" name="AutoShape 5"/>
          <p:cNvSpPr>
            <a:spLocks noChangeArrowheads="1"/>
          </p:cNvSpPr>
          <p:nvPr>
            <p:custDataLst>
              <p:tags r:id="rId2"/>
            </p:custDataLst>
          </p:nvPr>
        </p:nvSpPr>
        <p:spPr bwMode="auto">
          <a:xfrm>
            <a:off x="920440" y="4365130"/>
            <a:ext cx="2520350" cy="1152160"/>
          </a:xfrm>
          <a:prstGeom prst="chevron">
            <a:avLst>
              <a:gd name="adj" fmla="val 27840"/>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r>
              <a:rPr lang="en-US" altLang="de-DE" sz="1400" dirty="0" smtClean="0">
                <a:solidFill>
                  <a:srgbClr val="000000"/>
                </a:solidFill>
              </a:rPr>
              <a:t>4. Invoicing</a:t>
            </a:r>
          </a:p>
        </p:txBody>
      </p:sp>
      <p:sp>
        <p:nvSpPr>
          <p:cNvPr id="9" name="Rectangle 8"/>
          <p:cNvSpPr/>
          <p:nvPr/>
        </p:nvSpPr>
        <p:spPr>
          <a:xfrm>
            <a:off x="4088880" y="4365130"/>
            <a:ext cx="4953000" cy="1021883"/>
          </a:xfrm>
          <a:prstGeom prst="rect">
            <a:avLst/>
          </a:prstGeom>
        </p:spPr>
        <p:txBody>
          <a:bodyPr>
            <a:spAutoFit/>
          </a:bodyPr>
          <a:lstStyle/>
          <a:p>
            <a:pPr>
              <a:lnSpc>
                <a:spcPct val="110000"/>
              </a:lnSpc>
              <a:buFontTx/>
              <a:buChar char="•"/>
            </a:pPr>
            <a:r>
              <a:rPr lang="en-US" altLang="de-DE" sz="1400" dirty="0" smtClean="0">
                <a:solidFill>
                  <a:srgbClr val="000000"/>
                </a:solidFill>
                <a:latin typeface="+mj-lt"/>
              </a:rPr>
              <a:t>Automatic invoicing</a:t>
            </a:r>
          </a:p>
          <a:p>
            <a:pPr>
              <a:lnSpc>
                <a:spcPct val="110000"/>
              </a:lnSpc>
              <a:buFontTx/>
              <a:buChar char="•"/>
            </a:pPr>
            <a:r>
              <a:rPr lang="en-US" altLang="de-DE" sz="1400" dirty="0" smtClean="0">
                <a:solidFill>
                  <a:srgbClr val="000000"/>
                </a:solidFill>
                <a:latin typeface="+mj-lt"/>
              </a:rPr>
              <a:t>Costing</a:t>
            </a:r>
          </a:p>
          <a:p>
            <a:pPr>
              <a:lnSpc>
                <a:spcPct val="110000"/>
              </a:lnSpc>
              <a:buFontTx/>
              <a:buChar char="•"/>
            </a:pPr>
            <a:r>
              <a:rPr lang="en-US" altLang="de-DE" sz="1400" dirty="0" smtClean="0">
                <a:solidFill>
                  <a:srgbClr val="000000"/>
                </a:solidFill>
                <a:latin typeface="+mj-lt"/>
              </a:rPr>
              <a:t>(Profit-Sharing)</a:t>
            </a:r>
          </a:p>
          <a:p>
            <a:pPr>
              <a:lnSpc>
                <a:spcPct val="110000"/>
              </a:lnSpc>
              <a:buFontTx/>
              <a:buChar char="•"/>
            </a:pPr>
            <a:r>
              <a:rPr lang="en-US" altLang="de-DE" sz="1400" dirty="0" smtClean="0">
                <a:solidFill>
                  <a:srgbClr val="000000"/>
                </a:solidFill>
                <a:latin typeface="+mj-lt"/>
              </a:rPr>
              <a:t>Workshops</a:t>
            </a:r>
          </a:p>
        </p:txBody>
      </p:sp>
      <p:sp>
        <p:nvSpPr>
          <p:cNvPr id="10" name="Title 50"/>
          <p:cNvSpPr txBox="1">
            <a:spLocks/>
          </p:cNvSpPr>
          <p:nvPr/>
        </p:nvSpPr>
        <p:spPr>
          <a:xfrm>
            <a:off x="1" y="0"/>
            <a:ext cx="9905999" cy="1002135"/>
          </a:xfrm>
          <a:prstGeom prst="rect">
            <a:avLst/>
          </a:prstGeom>
        </p:spPr>
        <p:txBody>
          <a:bodyPr/>
          <a:lstStyle/>
          <a:p>
            <a:pPr marL="0" marR="0" lvl="0" indent="0" algn="l" defTabSz="914342"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smtClean="0">
              <a:ln>
                <a:noFill/>
              </a:ln>
              <a:solidFill>
                <a:schemeClr val="tx1"/>
              </a:solidFill>
              <a:effectLst/>
              <a:uLnTx/>
              <a:uFillTx/>
              <a:latin typeface="+mj-lt"/>
              <a:ea typeface="+mj-ea"/>
              <a:cs typeface="+mj-cs"/>
            </a:endParaRPr>
          </a:p>
          <a:p>
            <a:pPr marL="0" marR="0" lvl="0" indent="0" algn="l" defTabSz="914342"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smtClean="0">
                <a:ln>
                  <a:noFill/>
                </a:ln>
                <a:solidFill>
                  <a:schemeClr val="tx1"/>
                </a:solidFill>
                <a:effectLst/>
                <a:uLnTx/>
                <a:uFillTx/>
                <a:latin typeface="+mj-lt"/>
                <a:ea typeface="+mj-ea"/>
                <a:cs typeface="+mj-cs"/>
              </a:rPr>
              <a:t>iCON Process Descriptions </a:t>
            </a:r>
            <a:endParaRPr kumimoji="0" lang="en-US" sz="20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de-DE"/>
          </a:p>
        </p:txBody>
      </p:sp>
      <p:sp>
        <p:nvSpPr>
          <p:cNvPr id="3" name="Footer Placeholder 2"/>
          <p:cNvSpPr>
            <a:spLocks noGrp="1"/>
          </p:cNvSpPr>
          <p:nvPr>
            <p:ph type="ftr" sz="quarter" idx="3"/>
          </p:nvPr>
        </p:nvSpPr>
        <p:spPr/>
        <p:txBody>
          <a:bodyPr/>
          <a:lstStyle/>
          <a:p>
            <a:pPr>
              <a:defRPr/>
            </a:pPr>
            <a:r>
              <a:rPr lang="en-US" smtClean="0"/>
              <a:t>iCON | TP2 Skribbles | 28.10.2013</a:t>
            </a:r>
            <a:endParaRPr lang="de-DE" dirty="0"/>
          </a:p>
        </p:txBody>
      </p:sp>
      <p:sp>
        <p:nvSpPr>
          <p:cNvPr id="4" name="Slide Number Placeholder 3"/>
          <p:cNvSpPr>
            <a:spLocks noGrp="1"/>
          </p:cNvSpPr>
          <p:nvPr>
            <p:ph type="sldNum" sz="quarter" idx="4"/>
          </p:nvPr>
        </p:nvSpPr>
        <p:spPr/>
        <p:txBody>
          <a:bodyPr/>
          <a:lstStyle/>
          <a:p>
            <a:pPr>
              <a:defRPr/>
            </a:pPr>
            <a:fld id="{B3740903-BA6A-4AB4-B149-31FA73EE6E18}" type="slidenum">
              <a:rPr lang="de-DE" smtClean="0"/>
              <a:pPr>
                <a:defRPr/>
              </a:pPr>
              <a:t>13</a:t>
            </a:fld>
            <a:endParaRPr lang="de-DE"/>
          </a:p>
        </p:txBody>
      </p:sp>
      <p:sp>
        <p:nvSpPr>
          <p:cNvPr id="5" name="Title 50"/>
          <p:cNvSpPr txBox="1">
            <a:spLocks/>
          </p:cNvSpPr>
          <p:nvPr/>
        </p:nvSpPr>
        <p:spPr>
          <a:xfrm>
            <a:off x="1" y="0"/>
            <a:ext cx="9905999" cy="1002135"/>
          </a:xfrm>
          <a:prstGeom prst="rect">
            <a:avLst/>
          </a:prstGeom>
        </p:spPr>
        <p:txBody>
          <a:bodyPr/>
          <a:lstStyle/>
          <a:p>
            <a:pPr marL="0" marR="0" lvl="0" indent="0" algn="l" defTabSz="914342" rtl="0" eaLnBrk="1" fontAlgn="auto" latinLnBrk="0" hangingPunct="1">
              <a:lnSpc>
                <a:spcPct val="90000"/>
              </a:lnSpc>
              <a:spcBef>
                <a:spcPct val="0"/>
              </a:spcBef>
              <a:spcAft>
                <a:spcPts val="0"/>
              </a:spcAft>
              <a:buClrTx/>
              <a:buSzTx/>
              <a:buFontTx/>
              <a:buNone/>
              <a:tabLst/>
              <a:defRPr/>
            </a:pPr>
            <a:endParaRPr kumimoji="0" lang="en-US" sz="2000" b="1" i="0" u="none" strike="noStrike" kern="1200" cap="none" spc="0" normalizeH="0" baseline="0" noProof="0" dirty="0" smtClean="0">
              <a:ln>
                <a:noFill/>
              </a:ln>
              <a:solidFill>
                <a:schemeClr val="tx1"/>
              </a:solidFill>
              <a:effectLst/>
              <a:uLnTx/>
              <a:uFillTx/>
              <a:latin typeface="+mj-lt"/>
              <a:ea typeface="+mj-ea"/>
              <a:cs typeface="+mj-cs"/>
            </a:endParaRPr>
          </a:p>
          <a:p>
            <a:pPr marL="0" marR="0" lvl="0" indent="0" algn="l" defTabSz="914342"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smtClean="0">
                <a:ln>
                  <a:noFill/>
                </a:ln>
                <a:solidFill>
                  <a:schemeClr val="tx1"/>
                </a:solidFill>
                <a:effectLst/>
                <a:uLnTx/>
                <a:uFillTx/>
                <a:latin typeface="+mj-lt"/>
                <a:ea typeface="+mj-ea"/>
                <a:cs typeface="+mj-cs"/>
              </a:rPr>
              <a:t>iCON Process Descriptions </a:t>
            </a:r>
            <a:endParaRPr kumimoji="0" lang="en-US" sz="2000" b="1" i="0" u="none" strike="noStrike" kern="1200" cap="none" spc="0" normalizeH="0" baseline="0" noProof="0" dirty="0">
              <a:ln>
                <a:noFill/>
              </a:ln>
              <a:solidFill>
                <a:schemeClr val="tx1"/>
              </a:solidFill>
              <a:effectLst/>
              <a:uLnTx/>
              <a:uFillTx/>
              <a:latin typeface="+mj-lt"/>
              <a:ea typeface="+mj-ea"/>
              <a:cs typeface="+mj-cs"/>
            </a:endParaRPr>
          </a:p>
        </p:txBody>
      </p:sp>
      <p:sp>
        <p:nvSpPr>
          <p:cNvPr id="6" name="AutoShape 5"/>
          <p:cNvSpPr>
            <a:spLocks noChangeArrowheads="1"/>
          </p:cNvSpPr>
          <p:nvPr>
            <p:custDataLst>
              <p:tags r:id="rId1"/>
            </p:custDataLst>
          </p:nvPr>
        </p:nvSpPr>
        <p:spPr bwMode="auto">
          <a:xfrm>
            <a:off x="920440" y="1340710"/>
            <a:ext cx="2520350" cy="1152160"/>
          </a:xfrm>
          <a:prstGeom prst="chevron">
            <a:avLst>
              <a:gd name="adj" fmla="val 27840"/>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r>
              <a:rPr lang="en-US" altLang="de-DE" sz="1400" dirty="0" smtClean="0">
                <a:solidFill>
                  <a:srgbClr val="000000"/>
                </a:solidFill>
              </a:rPr>
              <a:t>5. Claim processing</a:t>
            </a:r>
          </a:p>
        </p:txBody>
      </p:sp>
      <p:sp>
        <p:nvSpPr>
          <p:cNvPr id="7" name="Rectangle 6"/>
          <p:cNvSpPr/>
          <p:nvPr/>
        </p:nvSpPr>
        <p:spPr>
          <a:xfrm>
            <a:off x="4088880" y="1268700"/>
            <a:ext cx="4953000" cy="784895"/>
          </a:xfrm>
          <a:prstGeom prst="rect">
            <a:avLst/>
          </a:prstGeom>
        </p:spPr>
        <p:txBody>
          <a:bodyPr>
            <a:spAutoFit/>
          </a:bodyPr>
          <a:lstStyle/>
          <a:p>
            <a:pPr marL="85725" indent="-85725">
              <a:lnSpc>
                <a:spcPct val="110000"/>
              </a:lnSpc>
              <a:buFontTx/>
              <a:buChar char="•"/>
            </a:pPr>
            <a:r>
              <a:rPr lang="en-US" altLang="de-DE" sz="1400" dirty="0" smtClean="0">
                <a:solidFill>
                  <a:srgbClr val="000000"/>
                </a:solidFill>
                <a:latin typeface="+mj-lt"/>
              </a:rPr>
              <a:t>SC processing via EVA/VEGA </a:t>
            </a:r>
          </a:p>
          <a:p>
            <a:pPr marL="85725" indent="-85725">
              <a:lnSpc>
                <a:spcPct val="110000"/>
              </a:lnSpc>
              <a:buFontTx/>
              <a:buChar char="•"/>
            </a:pPr>
            <a:r>
              <a:rPr lang="en-US" altLang="de-DE" sz="1400" dirty="0" smtClean="0">
                <a:solidFill>
                  <a:srgbClr val="000000"/>
                </a:solidFill>
                <a:latin typeface="+mj-lt"/>
              </a:rPr>
              <a:t>Workshop loyalty</a:t>
            </a:r>
          </a:p>
          <a:p>
            <a:pPr marL="85725" indent="-85725">
              <a:lnSpc>
                <a:spcPct val="110000"/>
              </a:lnSpc>
              <a:buFontTx/>
              <a:buChar char="•"/>
            </a:pPr>
            <a:r>
              <a:rPr lang="en-US" altLang="de-DE" sz="1400" dirty="0" smtClean="0">
                <a:solidFill>
                  <a:srgbClr val="000000"/>
                </a:solidFill>
                <a:latin typeface="+mj-lt"/>
              </a:rPr>
              <a:t>Contract-specific compensation rates</a:t>
            </a:r>
            <a:endParaRPr lang="de-DE" altLang="de-DE" sz="1400" dirty="0" smtClean="0">
              <a:solidFill>
                <a:srgbClr val="000000"/>
              </a:solidFill>
              <a:latin typeface="+mj-lt"/>
            </a:endParaRPr>
          </a:p>
        </p:txBody>
      </p:sp>
      <p:sp>
        <p:nvSpPr>
          <p:cNvPr id="8" name="AutoShape 5"/>
          <p:cNvSpPr>
            <a:spLocks noChangeArrowheads="1"/>
          </p:cNvSpPr>
          <p:nvPr>
            <p:custDataLst>
              <p:tags r:id="rId2"/>
            </p:custDataLst>
          </p:nvPr>
        </p:nvSpPr>
        <p:spPr bwMode="auto">
          <a:xfrm>
            <a:off x="920440" y="3789050"/>
            <a:ext cx="2520350" cy="1152160"/>
          </a:xfrm>
          <a:prstGeom prst="chevron">
            <a:avLst>
              <a:gd name="adj" fmla="val 27840"/>
            </a:avLst>
          </a:prstGeom>
          <a:solidFill>
            <a:srgbClr val="ECECEC"/>
          </a:solidFill>
          <a:ln w="6350">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marL="88900" algn="ctr" eaLnBrk="0" hangingPunct="0">
              <a:spcBef>
                <a:spcPct val="35000"/>
              </a:spcBef>
              <a:buSzPct val="90000"/>
              <a:buFont typeface="Wingdings" pitchFamily="2" charset="2"/>
              <a:buNone/>
            </a:pPr>
            <a:r>
              <a:rPr lang="en-US" altLang="de-DE" sz="1400" dirty="0" smtClean="0">
                <a:solidFill>
                  <a:srgbClr val="000000"/>
                </a:solidFill>
              </a:rPr>
              <a:t>6. SC process controlling</a:t>
            </a:r>
          </a:p>
        </p:txBody>
      </p:sp>
      <p:cxnSp>
        <p:nvCxnSpPr>
          <p:cNvPr id="9" name="Straight Connector 8"/>
          <p:cNvCxnSpPr/>
          <p:nvPr/>
        </p:nvCxnSpPr>
        <p:spPr>
          <a:xfrm>
            <a:off x="632400" y="3356990"/>
            <a:ext cx="8353160" cy="0"/>
          </a:xfrm>
          <a:prstGeom prst="line">
            <a:avLst/>
          </a:prstGeom>
          <a:ln>
            <a:solidFill>
              <a:srgbClr val="00B0F0"/>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60890" y="3573020"/>
            <a:ext cx="4953000" cy="1021883"/>
          </a:xfrm>
          <a:prstGeom prst="rect">
            <a:avLst/>
          </a:prstGeom>
        </p:spPr>
        <p:txBody>
          <a:bodyPr>
            <a:spAutoFit/>
          </a:bodyPr>
          <a:lstStyle/>
          <a:p>
            <a:pPr marL="92075" indent="-92075">
              <a:lnSpc>
                <a:spcPct val="110000"/>
              </a:lnSpc>
              <a:buFontTx/>
              <a:buChar char="•"/>
            </a:pPr>
            <a:r>
              <a:rPr lang="de-DE" altLang="de-DE" sz="1400" dirty="0" smtClean="0">
                <a:solidFill>
                  <a:srgbClr val="000000"/>
                </a:solidFill>
                <a:latin typeface="+mj-lt"/>
              </a:rPr>
              <a:t>Operational monitoring (HQ, MPC, Retail)</a:t>
            </a:r>
          </a:p>
          <a:p>
            <a:pPr marL="92075" indent="-92075">
              <a:lnSpc>
                <a:spcPct val="110000"/>
              </a:lnSpc>
              <a:buFontTx/>
              <a:buChar char="•"/>
            </a:pPr>
            <a:r>
              <a:rPr lang="en-US" altLang="de-DE" sz="1400" dirty="0" smtClean="0">
                <a:solidFill>
                  <a:srgbClr val="000000"/>
                </a:solidFill>
                <a:latin typeface="+mj-lt"/>
              </a:rPr>
              <a:t>iCON reporting by data supplying process to AQUA for HQ</a:t>
            </a:r>
          </a:p>
          <a:p>
            <a:pPr marL="92075" indent="-92075">
              <a:lnSpc>
                <a:spcPct val="110000"/>
              </a:lnSpc>
              <a:buFontTx/>
              <a:buChar char="•"/>
            </a:pPr>
            <a:r>
              <a:rPr lang="en-US" altLang="de-DE" sz="1400" dirty="0" smtClean="0">
                <a:solidFill>
                  <a:srgbClr val="000000"/>
                </a:solidFill>
                <a:latin typeface="+mj-lt"/>
              </a:rPr>
              <a:t>Risk assessment  by data supply to SCARF</a:t>
            </a:r>
          </a:p>
          <a:p>
            <a:pPr marL="92075" indent="-92075">
              <a:lnSpc>
                <a:spcPct val="110000"/>
              </a:lnSpc>
              <a:buFontTx/>
              <a:buChar char="•"/>
            </a:pPr>
            <a:r>
              <a:rPr lang="en-US" altLang="de-DE" sz="1400" dirty="0" smtClean="0">
                <a:solidFill>
                  <a:srgbClr val="000000"/>
                </a:solidFill>
                <a:latin typeface="+mj-lt"/>
              </a:rPr>
              <a:t>Standard interface to local reporting system</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Titel 1"/>
          <p:cNvSpPr>
            <a:spLocks noGrp="1"/>
          </p:cNvSpPr>
          <p:nvPr>
            <p:ph type="title"/>
          </p:nvPr>
        </p:nvSpPr>
        <p:spPr>
          <a:xfrm>
            <a:off x="0" y="0"/>
            <a:ext cx="7292944" cy="900113"/>
          </a:xfrm>
        </p:spPr>
        <p:txBody>
          <a:bodyPr/>
          <a:lstStyle/>
          <a:p>
            <a:pPr>
              <a:lnSpc>
                <a:spcPct val="85000"/>
              </a:lnSpc>
            </a:pPr>
            <a:r>
              <a:rPr lang="de-DE" sz="2000" b="1" dirty="0" smtClean="0">
                <a:ea typeface="+mn-ea"/>
                <a:cs typeface="+mn-cs"/>
              </a:rPr>
              <a:t>Interaction with disparate systems</a:t>
            </a:r>
            <a:endParaRPr lang="de-DE" sz="2000" b="1" dirty="0">
              <a:ea typeface="+mn-ea"/>
              <a:cs typeface="+mn-cs"/>
            </a:endParaRPr>
          </a:p>
        </p:txBody>
      </p:sp>
      <p:sp>
        <p:nvSpPr>
          <p:cNvPr id="12" name="Text Box 42"/>
          <p:cNvSpPr txBox="1">
            <a:spLocks noChangeArrowheads="1"/>
          </p:cNvSpPr>
          <p:nvPr/>
        </p:nvSpPr>
        <p:spPr bwMode="auto">
          <a:xfrm>
            <a:off x="794544" y="1776413"/>
            <a:ext cx="1432050" cy="365091"/>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smtClean="0">
                <a:solidFill>
                  <a:srgbClr val="666666"/>
                </a:solidFill>
                <a:latin typeface="CorpoS" pitchFamily="2" charset="0"/>
              </a:rPr>
              <a:t>Enabling Reporting</a:t>
            </a:r>
          </a:p>
        </p:txBody>
      </p:sp>
      <p:sp>
        <p:nvSpPr>
          <p:cNvPr id="14" name="Text Box 44"/>
          <p:cNvSpPr txBox="1">
            <a:spLocks noChangeArrowheads="1"/>
          </p:cNvSpPr>
          <p:nvPr/>
        </p:nvSpPr>
        <p:spPr bwMode="auto">
          <a:xfrm>
            <a:off x="6382148" y="1776413"/>
            <a:ext cx="1080992" cy="365091"/>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smtClean="0">
                <a:solidFill>
                  <a:srgbClr val="666666"/>
                </a:solidFill>
                <a:latin typeface="CorpoS" pitchFamily="2" charset="0"/>
              </a:rPr>
              <a:t>Enabling Sales</a:t>
            </a:r>
          </a:p>
        </p:txBody>
      </p:sp>
      <p:sp>
        <p:nvSpPr>
          <p:cNvPr id="15" name="Text Box 45"/>
          <p:cNvSpPr txBox="1">
            <a:spLocks noChangeArrowheads="1"/>
          </p:cNvSpPr>
          <p:nvPr/>
        </p:nvSpPr>
        <p:spPr bwMode="auto">
          <a:xfrm>
            <a:off x="847858" y="5680076"/>
            <a:ext cx="1706164" cy="65747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smtClean="0">
                <a:solidFill>
                  <a:srgbClr val="666666"/>
                </a:solidFill>
                <a:latin typeface="CorpoS" pitchFamily="2" charset="0"/>
              </a:rPr>
              <a:t>Improvement financial </a:t>
            </a:r>
          </a:p>
          <a:p>
            <a:pPr algn="l" eaLnBrk="1" hangingPunct="1">
              <a:spcBef>
                <a:spcPct val="0"/>
              </a:spcBef>
            </a:pPr>
            <a:r>
              <a:rPr lang="de-DE" smtClean="0">
                <a:solidFill>
                  <a:srgbClr val="666666"/>
                </a:solidFill>
                <a:latin typeface="CorpoS" pitchFamily="2" charset="0"/>
              </a:rPr>
              <a:t>Processes and claiming</a:t>
            </a:r>
          </a:p>
        </p:txBody>
      </p:sp>
      <p:sp>
        <p:nvSpPr>
          <p:cNvPr id="16" name="Text Box 46"/>
          <p:cNvSpPr txBox="1">
            <a:spLocks noChangeArrowheads="1"/>
          </p:cNvSpPr>
          <p:nvPr/>
        </p:nvSpPr>
        <p:spPr bwMode="auto">
          <a:xfrm>
            <a:off x="5343394" y="5924550"/>
            <a:ext cx="1603571" cy="365091"/>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dirty="0" err="1" smtClean="0">
                <a:solidFill>
                  <a:srgbClr val="666666"/>
                </a:solidFill>
                <a:latin typeface="CorpoS" pitchFamily="2" charset="0"/>
              </a:rPr>
              <a:t>Enabling</a:t>
            </a:r>
            <a:r>
              <a:rPr lang="de-DE" dirty="0" smtClean="0">
                <a:solidFill>
                  <a:srgbClr val="666666"/>
                </a:solidFill>
                <a:latin typeface="CorpoS" pitchFamily="2" charset="0"/>
              </a:rPr>
              <a:t> Master Data</a:t>
            </a:r>
          </a:p>
        </p:txBody>
      </p:sp>
      <p:sp>
        <p:nvSpPr>
          <p:cNvPr id="17" name="AutoShape 47"/>
          <p:cNvSpPr>
            <a:spLocks noChangeArrowheads="1"/>
          </p:cNvSpPr>
          <p:nvPr/>
        </p:nvSpPr>
        <p:spPr bwMode="auto">
          <a:xfrm>
            <a:off x="2330319" y="2431958"/>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dirty="0" smtClean="0">
                <a:solidFill>
                  <a:srgbClr val="666666"/>
                </a:solidFill>
              </a:rPr>
              <a:t>AQUA</a:t>
            </a:r>
          </a:p>
        </p:txBody>
      </p:sp>
      <p:sp>
        <p:nvSpPr>
          <p:cNvPr id="19" name="AutoShape 49"/>
          <p:cNvSpPr>
            <a:spLocks noChangeArrowheads="1"/>
          </p:cNvSpPr>
          <p:nvPr/>
        </p:nvSpPr>
        <p:spPr bwMode="auto">
          <a:xfrm>
            <a:off x="5876961" y="2462121"/>
            <a:ext cx="1392295"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18000" tIns="36000" rIns="54000" bIns="36000" anchor="ctr">
            <a:spAutoFit/>
          </a:bodyPr>
          <a:lstStyle/>
          <a:p>
            <a:pPr>
              <a:spcBef>
                <a:spcPct val="0"/>
              </a:spcBef>
            </a:pPr>
            <a:r>
              <a:rPr lang="de-DE" smtClean="0">
                <a:solidFill>
                  <a:srgbClr val="666666"/>
                </a:solidFill>
              </a:rPr>
              <a:t>MBC POS</a:t>
            </a:r>
          </a:p>
        </p:txBody>
      </p:sp>
      <p:sp>
        <p:nvSpPr>
          <p:cNvPr id="20" name="AutoShape 50"/>
          <p:cNvSpPr>
            <a:spLocks noChangeArrowheads="1"/>
          </p:cNvSpPr>
          <p:nvPr/>
        </p:nvSpPr>
        <p:spPr bwMode="auto">
          <a:xfrm>
            <a:off x="5322756" y="4838608"/>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PUE</a:t>
            </a:r>
          </a:p>
        </p:txBody>
      </p:sp>
      <p:sp>
        <p:nvSpPr>
          <p:cNvPr id="21" name="AutoShape 51"/>
          <p:cNvSpPr>
            <a:spLocks noChangeArrowheads="1"/>
          </p:cNvSpPr>
          <p:nvPr/>
        </p:nvSpPr>
        <p:spPr bwMode="auto">
          <a:xfrm>
            <a:off x="1002639" y="4872760"/>
            <a:ext cx="1129903" cy="34463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18000" tIns="36000" rIns="54000" bIns="36000" anchor="ctr">
            <a:spAutoFit/>
          </a:bodyPr>
          <a:lstStyle/>
          <a:p>
            <a:pPr>
              <a:spcBef>
                <a:spcPct val="0"/>
              </a:spcBef>
            </a:pPr>
            <a:r>
              <a:rPr lang="de-DE" sz="1500" dirty="0" smtClean="0">
                <a:solidFill>
                  <a:srgbClr val="666666"/>
                </a:solidFill>
              </a:rPr>
              <a:t>EVA/VEGA</a:t>
            </a:r>
          </a:p>
        </p:txBody>
      </p:sp>
      <p:sp>
        <p:nvSpPr>
          <p:cNvPr id="22" name="AutoShape 52"/>
          <p:cNvSpPr>
            <a:spLocks noChangeArrowheads="1"/>
          </p:cNvSpPr>
          <p:nvPr/>
        </p:nvSpPr>
        <p:spPr bwMode="auto">
          <a:xfrm>
            <a:off x="2330319" y="4838608"/>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CoFiCo</a:t>
            </a:r>
          </a:p>
        </p:txBody>
      </p:sp>
      <p:pic>
        <p:nvPicPr>
          <p:cNvPr id="23" name="Picture 53" descr="iCON_Logo_neu_transparent"/>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xmlns="" val="0"/>
              </a:ext>
            </a:extLst>
          </a:blip>
          <a:srcRect/>
          <a:stretch>
            <a:fillRect/>
          </a:stretch>
        </p:blipFill>
        <p:spPr bwMode="auto">
          <a:xfrm>
            <a:off x="3682075" y="3478213"/>
            <a:ext cx="1405069"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5" name="AutoShape 55"/>
          <p:cNvCxnSpPr>
            <a:cxnSpLocks noChangeShapeType="1"/>
            <a:stCxn id="23" idx="0"/>
            <a:endCxn id="19" idx="2"/>
          </p:cNvCxnSpPr>
          <p:nvPr/>
        </p:nvCxnSpPr>
        <p:spPr bwMode="auto">
          <a:xfrm rot="5400000" flipH="1" flipV="1">
            <a:off x="5178075" y="2083180"/>
            <a:ext cx="601569" cy="2188499"/>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6" name="AutoShape 56"/>
          <p:cNvCxnSpPr>
            <a:cxnSpLocks noChangeShapeType="1"/>
            <a:stCxn id="23" idx="3"/>
            <a:endCxn id="20" idx="0"/>
          </p:cNvCxnSpPr>
          <p:nvPr/>
        </p:nvCxnSpPr>
        <p:spPr bwMode="auto">
          <a:xfrm>
            <a:off x="5087144" y="3801269"/>
            <a:ext cx="742091" cy="1037339"/>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 name="AutoShape 57"/>
          <p:cNvCxnSpPr>
            <a:cxnSpLocks noChangeShapeType="1"/>
            <a:stCxn id="23" idx="1"/>
            <a:endCxn id="17" idx="2"/>
          </p:cNvCxnSpPr>
          <p:nvPr/>
        </p:nvCxnSpPr>
        <p:spPr bwMode="auto">
          <a:xfrm rot="10800000">
            <a:off x="2836799" y="2846481"/>
            <a:ext cx="845277" cy="954788"/>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9" name="AutoShape 59"/>
          <p:cNvCxnSpPr>
            <a:cxnSpLocks noChangeShapeType="1"/>
            <a:stCxn id="23" idx="2"/>
            <a:endCxn id="21" idx="0"/>
          </p:cNvCxnSpPr>
          <p:nvPr/>
        </p:nvCxnSpPr>
        <p:spPr bwMode="auto">
          <a:xfrm rot="5400000">
            <a:off x="2601884" y="3090034"/>
            <a:ext cx="748434" cy="2817019"/>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 name="AutoShape 60"/>
          <p:cNvCxnSpPr>
            <a:cxnSpLocks noChangeShapeType="1"/>
            <a:stCxn id="23" idx="2"/>
            <a:endCxn id="22" idx="0"/>
          </p:cNvCxnSpPr>
          <p:nvPr/>
        </p:nvCxnSpPr>
        <p:spPr bwMode="auto">
          <a:xfrm rot="5400000">
            <a:off x="3253563" y="3707560"/>
            <a:ext cx="714283" cy="1547812"/>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1" name="AutoShape 61"/>
          <p:cNvSpPr>
            <a:spLocks noChangeArrowheads="1"/>
          </p:cNvSpPr>
          <p:nvPr/>
        </p:nvSpPr>
        <p:spPr bwMode="auto">
          <a:xfrm>
            <a:off x="6650436" y="4838608"/>
            <a:ext cx="1110985"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18000" tIns="36000" rIns="54000" bIns="36000" anchor="ctr">
            <a:spAutoFit/>
          </a:bodyPr>
          <a:lstStyle/>
          <a:p>
            <a:pPr>
              <a:spcBef>
                <a:spcPct val="0"/>
              </a:spcBef>
            </a:pPr>
            <a:r>
              <a:rPr lang="de-DE" dirty="0" smtClean="0">
                <a:solidFill>
                  <a:srgbClr val="666666"/>
                </a:solidFill>
              </a:rPr>
              <a:t>MDS/GO</a:t>
            </a:r>
          </a:p>
        </p:txBody>
      </p:sp>
      <p:cxnSp>
        <p:nvCxnSpPr>
          <p:cNvPr id="32" name="AutoShape 62"/>
          <p:cNvCxnSpPr>
            <a:cxnSpLocks noChangeShapeType="1"/>
          </p:cNvCxnSpPr>
          <p:nvPr/>
        </p:nvCxnSpPr>
        <p:spPr bwMode="auto">
          <a:xfrm>
            <a:off x="5087144" y="3810001"/>
            <a:ext cx="2070629" cy="1071563"/>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3" name="AutoShape 52"/>
          <p:cNvSpPr>
            <a:spLocks noChangeArrowheads="1"/>
          </p:cNvSpPr>
          <p:nvPr/>
        </p:nvSpPr>
        <p:spPr bwMode="auto">
          <a:xfrm>
            <a:off x="5322756" y="5329146"/>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VeDoc</a:t>
            </a:r>
          </a:p>
        </p:txBody>
      </p:sp>
      <p:sp>
        <p:nvSpPr>
          <p:cNvPr id="34" name="AutoShape 52"/>
          <p:cNvSpPr>
            <a:spLocks noChangeArrowheads="1"/>
          </p:cNvSpPr>
          <p:nvPr/>
        </p:nvSpPr>
        <p:spPr bwMode="auto">
          <a:xfrm>
            <a:off x="2330319" y="5341846"/>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Scarf</a:t>
            </a:r>
          </a:p>
        </p:txBody>
      </p:sp>
      <p:sp>
        <p:nvSpPr>
          <p:cNvPr id="38" name="Rectangle 40"/>
          <p:cNvSpPr>
            <a:spLocks noChangeArrowheads="1"/>
          </p:cNvSpPr>
          <p:nvPr/>
        </p:nvSpPr>
        <p:spPr bwMode="auto">
          <a:xfrm>
            <a:off x="662121" y="1714501"/>
            <a:ext cx="2940844" cy="1763713"/>
          </a:xfrm>
          <a:prstGeom prst="rect">
            <a:avLst/>
          </a:prstGeom>
          <a:noFill/>
          <a:ln w="9525" algn="ctr">
            <a:solidFill>
              <a:schemeClr val="tx1"/>
            </a:solidFill>
            <a:prstDash val="dashDot"/>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algn="l">
              <a:spcBef>
                <a:spcPct val="0"/>
              </a:spcBef>
            </a:pPr>
            <a:endParaRPr lang="en-US" sz="1800" smtClean="0">
              <a:solidFill>
                <a:srgbClr val="000000"/>
              </a:solidFill>
              <a:latin typeface="Arial" charset="0"/>
            </a:endParaRPr>
          </a:p>
        </p:txBody>
      </p:sp>
      <p:sp>
        <p:nvSpPr>
          <p:cNvPr id="39" name="Rectangle 41"/>
          <p:cNvSpPr>
            <a:spLocks noChangeArrowheads="1"/>
          </p:cNvSpPr>
          <p:nvPr/>
        </p:nvSpPr>
        <p:spPr bwMode="auto">
          <a:xfrm>
            <a:off x="662121" y="4562476"/>
            <a:ext cx="2940844" cy="1763713"/>
          </a:xfrm>
          <a:prstGeom prst="rect">
            <a:avLst/>
          </a:prstGeom>
          <a:noFill/>
          <a:ln w="9525" algn="ctr">
            <a:solidFill>
              <a:schemeClr val="tx1"/>
            </a:solidFill>
            <a:prstDash val="dashDot"/>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algn="l">
              <a:spcBef>
                <a:spcPct val="0"/>
              </a:spcBef>
            </a:pPr>
            <a:endParaRPr lang="en-US" sz="1800" smtClean="0">
              <a:solidFill>
                <a:srgbClr val="000000"/>
              </a:solidFill>
              <a:latin typeface="Arial" charset="0"/>
            </a:endParaRPr>
          </a:p>
        </p:txBody>
      </p:sp>
      <p:sp>
        <p:nvSpPr>
          <p:cNvPr id="40" name="Rectangle 42"/>
          <p:cNvSpPr>
            <a:spLocks noChangeArrowheads="1"/>
          </p:cNvSpPr>
          <p:nvPr/>
        </p:nvSpPr>
        <p:spPr bwMode="auto">
          <a:xfrm>
            <a:off x="4820577" y="1704976"/>
            <a:ext cx="2940844" cy="1763713"/>
          </a:xfrm>
          <a:prstGeom prst="rect">
            <a:avLst/>
          </a:prstGeom>
          <a:noFill/>
          <a:ln w="9525" algn="ctr">
            <a:solidFill>
              <a:schemeClr val="tx1"/>
            </a:solidFill>
            <a:prstDash val="dashDot"/>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algn="l">
              <a:spcBef>
                <a:spcPct val="0"/>
              </a:spcBef>
            </a:pPr>
            <a:endParaRPr lang="en-US" sz="1800" smtClean="0">
              <a:solidFill>
                <a:srgbClr val="000000"/>
              </a:solidFill>
              <a:latin typeface="Arial" charset="0"/>
            </a:endParaRPr>
          </a:p>
        </p:txBody>
      </p:sp>
      <p:cxnSp>
        <p:nvCxnSpPr>
          <p:cNvPr id="41" name="AutoShape 60"/>
          <p:cNvCxnSpPr>
            <a:cxnSpLocks noChangeShapeType="1"/>
            <a:stCxn id="23" idx="3"/>
            <a:endCxn id="33" idx="1"/>
          </p:cNvCxnSpPr>
          <p:nvPr/>
        </p:nvCxnSpPr>
        <p:spPr bwMode="auto">
          <a:xfrm>
            <a:off x="5087144" y="3801269"/>
            <a:ext cx="235612" cy="1735139"/>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4" name="Rectangle 46"/>
          <p:cNvSpPr>
            <a:spLocks noChangeArrowheads="1"/>
          </p:cNvSpPr>
          <p:nvPr/>
        </p:nvSpPr>
        <p:spPr bwMode="auto">
          <a:xfrm>
            <a:off x="4820577" y="4584701"/>
            <a:ext cx="2940844" cy="1763713"/>
          </a:xfrm>
          <a:prstGeom prst="rect">
            <a:avLst/>
          </a:prstGeom>
          <a:noFill/>
          <a:ln w="9525" algn="ctr">
            <a:solidFill>
              <a:schemeClr val="tx1"/>
            </a:solidFill>
            <a:prstDash val="dashDot"/>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algn="l">
              <a:spcBef>
                <a:spcPct val="0"/>
              </a:spcBef>
            </a:pPr>
            <a:endParaRPr lang="en-US" sz="1800" smtClean="0">
              <a:solidFill>
                <a:srgbClr val="000000"/>
              </a:solidFill>
              <a:latin typeface="Arial" charset="0"/>
            </a:endParaRPr>
          </a:p>
        </p:txBody>
      </p:sp>
      <p:cxnSp>
        <p:nvCxnSpPr>
          <p:cNvPr id="46" name="AutoShape 60"/>
          <p:cNvCxnSpPr>
            <a:cxnSpLocks noChangeShapeType="1"/>
            <a:stCxn id="23" idx="2"/>
          </p:cNvCxnSpPr>
          <p:nvPr/>
        </p:nvCxnSpPr>
        <p:spPr bwMode="auto">
          <a:xfrm rot="5400000">
            <a:off x="3093508" y="4102365"/>
            <a:ext cx="1270000" cy="1313921"/>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9" name="AutoShape 52"/>
          <p:cNvSpPr>
            <a:spLocks noChangeArrowheads="1"/>
          </p:cNvSpPr>
          <p:nvPr/>
        </p:nvSpPr>
        <p:spPr bwMode="auto">
          <a:xfrm>
            <a:off x="6650435" y="5329146"/>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dirty="0" smtClean="0">
                <a:solidFill>
                  <a:srgbClr val="666666"/>
                </a:solidFill>
              </a:rPr>
              <a:t>MBKS</a:t>
            </a:r>
          </a:p>
        </p:txBody>
      </p:sp>
      <p:cxnSp>
        <p:nvCxnSpPr>
          <p:cNvPr id="50" name="AutoShape 62"/>
          <p:cNvCxnSpPr>
            <a:cxnSpLocks noChangeShapeType="1"/>
            <a:stCxn id="23" idx="3"/>
          </p:cNvCxnSpPr>
          <p:nvPr/>
        </p:nvCxnSpPr>
        <p:spPr bwMode="auto">
          <a:xfrm>
            <a:off x="5087145" y="3801270"/>
            <a:ext cx="1579635" cy="1505819"/>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52" name="Shape 51"/>
          <p:cNvCxnSpPr>
            <a:stCxn id="21" idx="0"/>
          </p:cNvCxnSpPr>
          <p:nvPr/>
        </p:nvCxnSpPr>
        <p:spPr>
          <a:xfrm rot="5400000" flipH="1" flipV="1">
            <a:off x="2286380" y="3286291"/>
            <a:ext cx="867680" cy="2305259"/>
          </a:xfrm>
          <a:prstGeom prst="curvedConnector2">
            <a:avLst/>
          </a:prstGeom>
          <a:noFill/>
          <a:ln w="28575">
            <a:solidFill>
              <a:srgbClr val="0070C0"/>
            </a:solidFill>
            <a:round/>
            <a:headEnd/>
            <a:tailEnd type="triangle" w="med" len="med"/>
          </a:ln>
          <a:effectLst/>
        </p:spPr>
      </p:cxnSp>
      <p:sp>
        <p:nvSpPr>
          <p:cNvPr id="53" name="TextBox 52"/>
          <p:cNvSpPr txBox="1"/>
          <p:nvPr/>
        </p:nvSpPr>
        <p:spPr>
          <a:xfrm>
            <a:off x="1928580" y="3789050"/>
            <a:ext cx="1051891" cy="286232"/>
          </a:xfrm>
          <a:prstGeom prst="rect">
            <a:avLst/>
          </a:prstGeom>
          <a:noFill/>
        </p:spPr>
        <p:txBody>
          <a:bodyPr wrap="none" rtlCol="0">
            <a:spAutoFit/>
          </a:bodyPr>
          <a:lstStyle/>
          <a:p>
            <a:pPr>
              <a:lnSpc>
                <a:spcPct val="90000"/>
              </a:lnSpc>
            </a:pPr>
            <a:r>
              <a:rPr lang="en-US" sz="1400" dirty="0" smtClean="0"/>
              <a:t>CLAI costs</a:t>
            </a:r>
          </a:p>
        </p:txBody>
      </p:sp>
      <p:cxnSp>
        <p:nvCxnSpPr>
          <p:cNvPr id="55" name="Shape 54"/>
          <p:cNvCxnSpPr>
            <a:stCxn id="22" idx="0"/>
          </p:cNvCxnSpPr>
          <p:nvPr/>
        </p:nvCxnSpPr>
        <p:spPr>
          <a:xfrm rot="5400000" flipH="1" flipV="1">
            <a:off x="2974065" y="3939823"/>
            <a:ext cx="761518" cy="1036052"/>
          </a:xfrm>
          <a:prstGeom prst="curvedConnector2">
            <a:avLst/>
          </a:prstGeom>
          <a:noFill/>
          <a:ln w="28575">
            <a:solidFill>
              <a:srgbClr val="0070C0"/>
            </a:solidFill>
            <a:round/>
            <a:headEnd/>
            <a:tailEnd type="triangle" w="med" len="med"/>
          </a:ln>
          <a:effectLst/>
        </p:spPr>
      </p:cxnSp>
      <p:sp>
        <p:nvSpPr>
          <p:cNvPr id="56" name="TextBox 55"/>
          <p:cNvSpPr txBox="1"/>
          <p:nvPr/>
        </p:nvSpPr>
        <p:spPr>
          <a:xfrm>
            <a:off x="2864710" y="4149100"/>
            <a:ext cx="910827" cy="286232"/>
          </a:xfrm>
          <a:prstGeom prst="rect">
            <a:avLst/>
          </a:prstGeom>
          <a:noFill/>
        </p:spPr>
        <p:txBody>
          <a:bodyPr wrap="none" rtlCol="0">
            <a:spAutoFit/>
          </a:bodyPr>
          <a:lstStyle/>
          <a:p>
            <a:pPr>
              <a:lnSpc>
                <a:spcPct val="90000"/>
              </a:lnSpc>
            </a:pPr>
            <a:r>
              <a:rPr lang="en-US" sz="1400" dirty="0" smtClean="0"/>
              <a:t>feedback</a:t>
            </a:r>
          </a:p>
        </p:txBody>
      </p:sp>
    </p:spTree>
    <p:extLst>
      <p:ext uri="{BB962C8B-B14F-4D97-AF65-F5344CB8AC3E}">
        <p14:creationId xmlns:p14="http://schemas.microsoft.com/office/powerpoint/2010/main" xmlns="" val="11679236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xmlns="" val="3000599192"/>
              </p:ext>
            </p:extLst>
          </p:nvPr>
        </p:nvGraphicFramePr>
        <p:xfrm>
          <a:off x="1721" y="1589"/>
          <a:ext cx="1719" cy="1587"/>
        </p:xfrm>
        <a:graphic>
          <a:graphicData uri="http://schemas.openxmlformats.org/presentationml/2006/ole">
            <p:oleObj spid="_x0000_s182274" name="think-cell Slide" r:id="rId8" imgW="360" imgH="360" progId="">
              <p:embed/>
            </p:oleObj>
          </a:graphicData>
        </a:graphic>
      </p:graphicFrame>
      <p:sp>
        <p:nvSpPr>
          <p:cNvPr id="38" name="Rectangle 40"/>
          <p:cNvSpPr>
            <a:spLocks noChangeArrowheads="1"/>
          </p:cNvSpPr>
          <p:nvPr>
            <p:custDataLst>
              <p:tags r:id="rId2"/>
            </p:custDataLst>
          </p:nvPr>
        </p:nvSpPr>
        <p:spPr bwMode="auto">
          <a:xfrm>
            <a:off x="662121" y="1714501"/>
            <a:ext cx="2940844" cy="1763713"/>
          </a:xfrm>
          <a:prstGeom prst="rect">
            <a:avLst/>
          </a:prstGeom>
          <a:solidFill>
            <a:schemeClr val="accent5">
              <a:lumMod val="20000"/>
              <a:lumOff val="80000"/>
            </a:schemeClr>
          </a:solidFill>
          <a:ln w="9525" algn="ctr">
            <a:solidFill>
              <a:schemeClr val="tx1"/>
            </a:solidFill>
            <a:prstDash val="dashDot"/>
            <a:miter lim="800000"/>
            <a:headEnd/>
            <a:tailEnd/>
          </a:ln>
          <a:effectLst/>
          <a:extLst/>
        </p:spPr>
        <p:txBody>
          <a:bodyPr wrap="none" anchor="ctr"/>
          <a:lstStyle/>
          <a:p>
            <a:pPr algn="l">
              <a:spcBef>
                <a:spcPct val="0"/>
              </a:spcBef>
            </a:pPr>
            <a:endParaRPr lang="en-US" sz="1800" smtClean="0">
              <a:solidFill>
                <a:srgbClr val="000000"/>
              </a:solidFill>
              <a:latin typeface="Arial" charset="0"/>
            </a:endParaRPr>
          </a:p>
        </p:txBody>
      </p:sp>
      <p:sp>
        <p:nvSpPr>
          <p:cNvPr id="12" name="Text Box 42"/>
          <p:cNvSpPr txBox="1">
            <a:spLocks noChangeArrowheads="1"/>
          </p:cNvSpPr>
          <p:nvPr>
            <p:custDataLst>
              <p:tags r:id="rId3"/>
            </p:custDataLst>
          </p:nvPr>
        </p:nvSpPr>
        <p:spPr bwMode="auto">
          <a:xfrm>
            <a:off x="794544" y="1776413"/>
            <a:ext cx="1853640" cy="503590"/>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sz="1400" dirty="0" smtClean="0">
                <a:solidFill>
                  <a:srgbClr val="666666"/>
                </a:solidFill>
                <a:latin typeface="+mj-lt"/>
              </a:rPr>
              <a:t>Enabling Reporting for</a:t>
            </a:r>
          </a:p>
          <a:p>
            <a:pPr algn="l" eaLnBrk="1" hangingPunct="1">
              <a:spcBef>
                <a:spcPct val="0"/>
              </a:spcBef>
            </a:pPr>
            <a:r>
              <a:rPr lang="de-DE" sz="1400" dirty="0" smtClean="0">
                <a:solidFill>
                  <a:srgbClr val="666666"/>
                </a:solidFill>
                <a:latin typeface="+mj-lt"/>
              </a:rPr>
              <a:t> HQ and MPC</a:t>
            </a:r>
          </a:p>
        </p:txBody>
      </p:sp>
      <p:sp>
        <p:nvSpPr>
          <p:cNvPr id="17" name="AutoShape 47"/>
          <p:cNvSpPr>
            <a:spLocks noChangeArrowheads="1"/>
          </p:cNvSpPr>
          <p:nvPr>
            <p:custDataLst>
              <p:tags r:id="rId4"/>
            </p:custDataLst>
          </p:nvPr>
        </p:nvSpPr>
        <p:spPr bwMode="auto">
          <a:xfrm>
            <a:off x="2330319" y="2431958"/>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dirty="0" smtClean="0">
                <a:solidFill>
                  <a:srgbClr val="666666"/>
                </a:solidFill>
              </a:rPr>
              <a:t>AQUA</a:t>
            </a:r>
          </a:p>
        </p:txBody>
      </p:sp>
      <p:pic>
        <p:nvPicPr>
          <p:cNvPr id="23" name="Picture 53" descr="iCON_Logo_neu_transparent"/>
          <p:cNvPicPr>
            <a:picLocks noChangeAspect="1" noChangeArrowheads="1"/>
          </p:cNvPicPr>
          <p:nvPr>
            <p:custDataLst>
              <p:tags r:id="rId5"/>
            </p:custDataLst>
          </p:nvPr>
        </p:nvPicPr>
        <p:blipFill>
          <a:blip r:embed="rId9" cstate="print">
            <a:extLst>
              <a:ext uri="{28A0092B-C50C-407E-A947-70E740481C1C}">
                <a14:useLocalDpi xmlns:a14="http://schemas.microsoft.com/office/drawing/2010/main" xmlns="" val="0"/>
              </a:ext>
            </a:extLst>
          </a:blip>
          <a:srcRect/>
          <a:stretch>
            <a:fillRect/>
          </a:stretch>
        </p:blipFill>
        <p:spPr bwMode="auto">
          <a:xfrm>
            <a:off x="3682075" y="3478213"/>
            <a:ext cx="1405069"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7" name="AutoShape 57"/>
          <p:cNvCxnSpPr>
            <a:cxnSpLocks noChangeShapeType="1"/>
            <a:stCxn id="23" idx="1"/>
            <a:endCxn id="17" idx="2"/>
          </p:cNvCxnSpPr>
          <p:nvPr>
            <p:custDataLst>
              <p:tags r:id="rId6"/>
            </p:custDataLst>
          </p:nvPr>
        </p:nvCxnSpPr>
        <p:spPr bwMode="auto">
          <a:xfrm rot="10800000">
            <a:off x="2836799" y="2846481"/>
            <a:ext cx="845277" cy="954788"/>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8" name="Title 47"/>
          <p:cNvSpPr>
            <a:spLocks noGrp="1"/>
          </p:cNvSpPr>
          <p:nvPr>
            <p:ph type="title"/>
          </p:nvPr>
        </p:nvSpPr>
        <p:spPr/>
        <p:txBody>
          <a:bodyPr/>
          <a:lstStyle/>
          <a:p>
            <a:r>
              <a:rPr lang="en-US" sz="2000" b="1" dirty="0" smtClean="0"/>
              <a:t>AQUA</a:t>
            </a:r>
            <a:endParaRPr lang="en-US" sz="2000" b="1" dirty="0"/>
          </a:p>
        </p:txBody>
      </p:sp>
      <p:sp>
        <p:nvSpPr>
          <p:cNvPr id="51" name="TextBox 50"/>
          <p:cNvSpPr txBox="1"/>
          <p:nvPr/>
        </p:nvSpPr>
        <p:spPr>
          <a:xfrm>
            <a:off x="5601090" y="1700760"/>
            <a:ext cx="4032560" cy="286232"/>
          </a:xfrm>
          <a:prstGeom prst="rect">
            <a:avLst/>
          </a:prstGeom>
          <a:noFill/>
        </p:spPr>
        <p:txBody>
          <a:bodyPr wrap="square" rtlCol="0">
            <a:spAutoFit/>
          </a:bodyPr>
          <a:lstStyle/>
          <a:p>
            <a:pPr>
              <a:lnSpc>
                <a:spcPct val="90000"/>
              </a:lnSpc>
            </a:pPr>
            <a:endParaRPr lang="en-US" sz="1400" dirty="0" smtClean="0"/>
          </a:p>
        </p:txBody>
      </p:sp>
      <p:sp>
        <p:nvSpPr>
          <p:cNvPr id="52" name="TextBox 51"/>
          <p:cNvSpPr txBox="1"/>
          <p:nvPr/>
        </p:nvSpPr>
        <p:spPr>
          <a:xfrm>
            <a:off x="5529080" y="1484730"/>
            <a:ext cx="4376920" cy="1449628"/>
          </a:xfrm>
          <a:prstGeom prst="rect">
            <a:avLst/>
          </a:prstGeom>
          <a:noFill/>
        </p:spPr>
        <p:txBody>
          <a:bodyPr wrap="square" rtlCol="0">
            <a:spAutoFit/>
          </a:bodyPr>
          <a:lstStyle/>
          <a:p>
            <a:pPr>
              <a:lnSpc>
                <a:spcPct val="90000"/>
              </a:lnSpc>
            </a:pPr>
            <a:r>
              <a:rPr lang="en-US" sz="1400" dirty="0" smtClean="0"/>
              <a:t>Reporting data:</a:t>
            </a:r>
          </a:p>
          <a:p>
            <a:pPr>
              <a:lnSpc>
                <a:spcPct val="90000"/>
              </a:lnSpc>
              <a:buFont typeface="Arial" pitchFamily="34" charset="0"/>
              <a:buChar char="•"/>
            </a:pPr>
            <a:r>
              <a:rPr lang="en-US" sz="1400" dirty="0" smtClean="0"/>
              <a:t> Cost</a:t>
            </a:r>
          </a:p>
          <a:p>
            <a:pPr>
              <a:lnSpc>
                <a:spcPct val="90000"/>
              </a:lnSpc>
              <a:buFont typeface="Arial" pitchFamily="34" charset="0"/>
              <a:buChar char="•"/>
            </a:pPr>
            <a:r>
              <a:rPr lang="en-US" sz="1400" dirty="0" smtClean="0"/>
              <a:t> Damage</a:t>
            </a:r>
          </a:p>
          <a:p>
            <a:pPr>
              <a:lnSpc>
                <a:spcPct val="90000"/>
              </a:lnSpc>
              <a:buFont typeface="Arial" pitchFamily="34" charset="0"/>
              <a:buChar char="•"/>
            </a:pPr>
            <a:r>
              <a:rPr lang="en-US" sz="1400" dirty="0" smtClean="0"/>
              <a:t> Service coverage</a:t>
            </a:r>
          </a:p>
          <a:p>
            <a:pPr>
              <a:lnSpc>
                <a:spcPct val="90000"/>
              </a:lnSpc>
              <a:buFont typeface="Arial" pitchFamily="34" charset="0"/>
              <a:buChar char="•"/>
            </a:pPr>
            <a:r>
              <a:rPr lang="en-US" sz="1400" dirty="0" smtClean="0"/>
              <a:t> Product data</a:t>
            </a:r>
          </a:p>
          <a:p>
            <a:pPr>
              <a:lnSpc>
                <a:spcPct val="90000"/>
              </a:lnSpc>
              <a:buFont typeface="Arial" pitchFamily="34" charset="0"/>
              <a:buChar char="•"/>
            </a:pPr>
            <a:r>
              <a:rPr lang="en-US" sz="1400" dirty="0" smtClean="0"/>
              <a:t> Consumer data </a:t>
            </a:r>
          </a:p>
          <a:p>
            <a:pPr>
              <a:lnSpc>
                <a:spcPct val="90000"/>
              </a:lnSpc>
              <a:buFont typeface="Arial" pitchFamily="34" charset="0"/>
              <a:buChar char="•"/>
            </a:pPr>
            <a:r>
              <a:rPr lang="en-US" sz="1400" dirty="0" smtClean="0"/>
              <a:t> Dealer Data</a:t>
            </a:r>
          </a:p>
        </p:txBody>
      </p:sp>
    </p:spTree>
    <p:extLst>
      <p:ext uri="{BB962C8B-B14F-4D97-AF65-F5344CB8AC3E}">
        <p14:creationId xmlns:p14="http://schemas.microsoft.com/office/powerpoint/2010/main" xmlns="" val="6527158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xmlns="" val="2698004635"/>
              </p:ext>
            </p:extLst>
          </p:nvPr>
        </p:nvGraphicFramePr>
        <p:xfrm>
          <a:off x="1721" y="1589"/>
          <a:ext cx="1719" cy="1587"/>
        </p:xfrm>
        <a:graphic>
          <a:graphicData uri="http://schemas.openxmlformats.org/presentationml/2006/ole">
            <p:oleObj spid="_x0000_s183298" name="think-cell Slide" r:id="rId8" imgW="360" imgH="360" progId="">
              <p:embed/>
            </p:oleObj>
          </a:graphicData>
        </a:graphic>
      </p:graphicFrame>
      <p:sp>
        <p:nvSpPr>
          <p:cNvPr id="40" name="Rectangle 42"/>
          <p:cNvSpPr>
            <a:spLocks noChangeArrowheads="1"/>
          </p:cNvSpPr>
          <p:nvPr>
            <p:custDataLst>
              <p:tags r:id="rId2"/>
            </p:custDataLst>
          </p:nvPr>
        </p:nvSpPr>
        <p:spPr bwMode="auto">
          <a:xfrm>
            <a:off x="4820577" y="1704976"/>
            <a:ext cx="2940844" cy="1763713"/>
          </a:xfrm>
          <a:prstGeom prst="rect">
            <a:avLst/>
          </a:prstGeom>
          <a:solidFill>
            <a:schemeClr val="accent5">
              <a:lumMod val="20000"/>
              <a:lumOff val="80000"/>
            </a:schemeClr>
          </a:solidFill>
          <a:ln w="9525" algn="ctr">
            <a:solidFill>
              <a:schemeClr val="tx1"/>
            </a:solidFill>
            <a:prstDash val="dashDot"/>
            <a:miter lim="800000"/>
            <a:headEnd/>
            <a:tailEnd/>
          </a:ln>
          <a:effectLst/>
          <a:extLst/>
        </p:spPr>
        <p:txBody>
          <a:bodyPr wrap="none" anchor="ctr"/>
          <a:lstStyle/>
          <a:p>
            <a:endParaRPr lang="en-US">
              <a:solidFill>
                <a:srgbClr val="000000"/>
              </a:solidFill>
            </a:endParaRPr>
          </a:p>
        </p:txBody>
      </p:sp>
      <p:sp>
        <p:nvSpPr>
          <p:cNvPr id="14" name="Text Box 44"/>
          <p:cNvSpPr txBox="1">
            <a:spLocks noChangeArrowheads="1"/>
          </p:cNvSpPr>
          <p:nvPr>
            <p:custDataLst>
              <p:tags r:id="rId3"/>
            </p:custDataLst>
          </p:nvPr>
        </p:nvSpPr>
        <p:spPr bwMode="auto">
          <a:xfrm>
            <a:off x="5097020" y="1772770"/>
            <a:ext cx="2531710" cy="503590"/>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sz="1400" dirty="0" smtClean="0">
                <a:solidFill>
                  <a:srgbClr val="666666"/>
                </a:solidFill>
                <a:latin typeface="+mj-lt"/>
              </a:rPr>
              <a:t>Enabling Sales for </a:t>
            </a:r>
          </a:p>
          <a:p>
            <a:pPr algn="l" eaLnBrk="1" hangingPunct="1">
              <a:spcBef>
                <a:spcPct val="0"/>
              </a:spcBef>
            </a:pPr>
            <a:r>
              <a:rPr lang="de-DE" sz="1400" dirty="0" smtClean="0">
                <a:solidFill>
                  <a:srgbClr val="666666"/>
                </a:solidFill>
                <a:latin typeface="+mj-lt"/>
              </a:rPr>
              <a:t>ePOS and other sales systems</a:t>
            </a:r>
          </a:p>
        </p:txBody>
      </p:sp>
      <p:sp>
        <p:nvSpPr>
          <p:cNvPr id="19" name="AutoShape 49"/>
          <p:cNvSpPr>
            <a:spLocks noChangeArrowheads="1"/>
          </p:cNvSpPr>
          <p:nvPr>
            <p:custDataLst>
              <p:tags r:id="rId4"/>
            </p:custDataLst>
          </p:nvPr>
        </p:nvSpPr>
        <p:spPr bwMode="auto">
          <a:xfrm>
            <a:off x="5876961" y="2462121"/>
            <a:ext cx="1392295"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18000" tIns="36000" rIns="54000" bIns="36000" anchor="ctr">
            <a:spAutoFit/>
          </a:bodyPr>
          <a:lstStyle/>
          <a:p>
            <a:pPr>
              <a:spcBef>
                <a:spcPct val="0"/>
              </a:spcBef>
            </a:pPr>
            <a:r>
              <a:rPr lang="de-DE" smtClean="0">
                <a:solidFill>
                  <a:srgbClr val="666666"/>
                </a:solidFill>
              </a:rPr>
              <a:t>MBC POS</a:t>
            </a:r>
          </a:p>
        </p:txBody>
      </p:sp>
      <p:pic>
        <p:nvPicPr>
          <p:cNvPr id="23" name="Picture 53" descr="iCON_Logo_neu_transparent"/>
          <p:cNvPicPr>
            <a:picLocks noChangeAspect="1" noChangeArrowheads="1"/>
          </p:cNvPicPr>
          <p:nvPr>
            <p:custDataLst>
              <p:tags r:id="rId5"/>
            </p:custDataLst>
          </p:nvPr>
        </p:nvPicPr>
        <p:blipFill>
          <a:blip r:embed="rId9" cstate="print">
            <a:extLst>
              <a:ext uri="{28A0092B-C50C-407E-A947-70E740481C1C}">
                <a14:useLocalDpi xmlns:a14="http://schemas.microsoft.com/office/drawing/2010/main" xmlns="" val="0"/>
              </a:ext>
            </a:extLst>
          </a:blip>
          <a:srcRect/>
          <a:stretch>
            <a:fillRect/>
          </a:stretch>
        </p:blipFill>
        <p:spPr bwMode="auto">
          <a:xfrm>
            <a:off x="3682075" y="3478213"/>
            <a:ext cx="1405069"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5" name="AutoShape 55"/>
          <p:cNvCxnSpPr>
            <a:cxnSpLocks noChangeShapeType="1"/>
            <a:stCxn id="23" idx="0"/>
            <a:endCxn id="19" idx="2"/>
          </p:cNvCxnSpPr>
          <p:nvPr>
            <p:custDataLst>
              <p:tags r:id="rId6"/>
            </p:custDataLst>
          </p:nvPr>
        </p:nvCxnSpPr>
        <p:spPr bwMode="auto">
          <a:xfrm rot="5400000" flipH="1" flipV="1">
            <a:off x="5178075" y="2083180"/>
            <a:ext cx="601569" cy="2188499"/>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1" name="Title 50"/>
          <p:cNvSpPr>
            <a:spLocks noGrp="1"/>
          </p:cNvSpPr>
          <p:nvPr>
            <p:ph type="title"/>
          </p:nvPr>
        </p:nvSpPr>
        <p:spPr/>
        <p:txBody>
          <a:bodyPr/>
          <a:lstStyle/>
          <a:p>
            <a:r>
              <a:rPr lang="en-US" sz="2000" b="1" dirty="0" smtClean="0"/>
              <a:t>POS</a:t>
            </a:r>
            <a:endParaRPr lang="en-US" sz="2000" b="1" dirty="0"/>
          </a:p>
        </p:txBody>
      </p:sp>
      <p:sp>
        <p:nvSpPr>
          <p:cNvPr id="52" name="TextBox 51"/>
          <p:cNvSpPr txBox="1"/>
          <p:nvPr/>
        </p:nvSpPr>
        <p:spPr>
          <a:xfrm>
            <a:off x="416370" y="1628750"/>
            <a:ext cx="2808390" cy="1255728"/>
          </a:xfrm>
          <a:prstGeom prst="rect">
            <a:avLst/>
          </a:prstGeom>
          <a:noFill/>
        </p:spPr>
        <p:txBody>
          <a:bodyPr wrap="square" rtlCol="0">
            <a:spAutoFit/>
          </a:bodyPr>
          <a:lstStyle/>
          <a:p>
            <a:pPr>
              <a:lnSpc>
                <a:spcPct val="90000"/>
              </a:lnSpc>
              <a:buFont typeface="Arial" pitchFamily="34" charset="0"/>
              <a:buChar char="•"/>
            </a:pPr>
            <a:r>
              <a:rPr lang="en-US" sz="1400" dirty="0" smtClean="0"/>
              <a:t> Direct interface to ‘create quote’ and ‘create proposal’</a:t>
            </a:r>
          </a:p>
          <a:p>
            <a:pPr>
              <a:lnSpc>
                <a:spcPct val="90000"/>
              </a:lnSpc>
              <a:buFont typeface="Arial" pitchFamily="34" charset="0"/>
              <a:buChar char="•"/>
            </a:pPr>
            <a:r>
              <a:rPr lang="en-US" sz="1400" dirty="0" smtClean="0"/>
              <a:t> iCON acts as master data </a:t>
            </a:r>
          </a:p>
          <a:p>
            <a:pPr>
              <a:lnSpc>
                <a:spcPct val="90000"/>
              </a:lnSpc>
              <a:buFont typeface="Arial" pitchFamily="34" charset="0"/>
              <a:buChar char="•"/>
            </a:pPr>
            <a:r>
              <a:rPr lang="en-US" sz="1400" dirty="0" smtClean="0"/>
              <a:t> Data fetched</a:t>
            </a:r>
          </a:p>
          <a:p>
            <a:pPr lvl="1">
              <a:lnSpc>
                <a:spcPct val="90000"/>
              </a:lnSpc>
              <a:buFont typeface="Arial" pitchFamily="34" charset="0"/>
              <a:buChar char="•"/>
            </a:pPr>
            <a:r>
              <a:rPr lang="en-US" sz="1400" dirty="0" smtClean="0"/>
              <a:t> Product data</a:t>
            </a:r>
          </a:p>
          <a:p>
            <a:pPr lvl="1">
              <a:lnSpc>
                <a:spcPct val="90000"/>
              </a:lnSpc>
              <a:buFont typeface="Arial" pitchFamily="34" charset="0"/>
              <a:buChar char="•"/>
            </a:pPr>
            <a:r>
              <a:rPr lang="en-US" sz="1400" dirty="0" smtClean="0"/>
              <a:t> Price data </a:t>
            </a:r>
          </a:p>
        </p:txBody>
      </p:sp>
    </p:spTree>
    <p:extLst>
      <p:ext uri="{BB962C8B-B14F-4D97-AF65-F5344CB8AC3E}">
        <p14:creationId xmlns:p14="http://schemas.microsoft.com/office/powerpoint/2010/main" xmlns="" val="42360277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xmlns="" val="1613932496"/>
              </p:ext>
            </p:extLst>
          </p:nvPr>
        </p:nvGraphicFramePr>
        <p:xfrm>
          <a:off x="1721" y="1589"/>
          <a:ext cx="1719" cy="1587"/>
        </p:xfrm>
        <a:graphic>
          <a:graphicData uri="http://schemas.openxmlformats.org/presentationml/2006/ole">
            <p:oleObj spid="_x0000_s184322" name="think-cell Slide" r:id="rId14" imgW="360" imgH="360" progId="">
              <p:embed/>
            </p:oleObj>
          </a:graphicData>
        </a:graphic>
      </p:graphicFrame>
      <p:sp>
        <p:nvSpPr>
          <p:cNvPr id="44" name="Rectangle 46"/>
          <p:cNvSpPr>
            <a:spLocks noChangeArrowheads="1"/>
          </p:cNvSpPr>
          <p:nvPr>
            <p:custDataLst>
              <p:tags r:id="rId2"/>
            </p:custDataLst>
          </p:nvPr>
        </p:nvSpPr>
        <p:spPr bwMode="auto">
          <a:xfrm>
            <a:off x="4820577" y="4584701"/>
            <a:ext cx="2940844" cy="1763713"/>
          </a:xfrm>
          <a:prstGeom prst="rect">
            <a:avLst/>
          </a:prstGeom>
          <a:solidFill>
            <a:schemeClr val="accent5">
              <a:lumMod val="20000"/>
              <a:lumOff val="80000"/>
            </a:schemeClr>
          </a:solidFill>
          <a:ln w="9525" algn="ctr">
            <a:solidFill>
              <a:schemeClr val="tx1"/>
            </a:solidFill>
            <a:prstDash val="dashDot"/>
            <a:miter lim="800000"/>
            <a:headEnd/>
            <a:tailEnd/>
          </a:ln>
          <a:effectLst/>
          <a:extLst/>
        </p:spPr>
        <p:txBody>
          <a:bodyPr wrap="none" anchor="ctr"/>
          <a:lstStyle/>
          <a:p>
            <a:pPr algn="l">
              <a:spcBef>
                <a:spcPct val="0"/>
              </a:spcBef>
            </a:pPr>
            <a:endParaRPr lang="en-US" sz="1800" smtClean="0">
              <a:solidFill>
                <a:srgbClr val="000000"/>
              </a:solidFill>
              <a:latin typeface="Arial" charset="0"/>
            </a:endParaRPr>
          </a:p>
        </p:txBody>
      </p:sp>
      <p:sp>
        <p:nvSpPr>
          <p:cNvPr id="16" name="Text Box 46"/>
          <p:cNvSpPr txBox="1">
            <a:spLocks noChangeArrowheads="1"/>
          </p:cNvSpPr>
          <p:nvPr>
            <p:custDataLst>
              <p:tags r:id="rId3"/>
            </p:custDataLst>
          </p:nvPr>
        </p:nvSpPr>
        <p:spPr bwMode="auto">
          <a:xfrm>
            <a:off x="5343394" y="5924550"/>
            <a:ext cx="1603571" cy="365091"/>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dirty="0" err="1" smtClean="0">
                <a:solidFill>
                  <a:srgbClr val="666666"/>
                </a:solidFill>
                <a:latin typeface="CorpoS" pitchFamily="2" charset="0"/>
              </a:rPr>
              <a:t>Enabling</a:t>
            </a:r>
            <a:r>
              <a:rPr lang="de-DE" dirty="0" smtClean="0">
                <a:solidFill>
                  <a:srgbClr val="666666"/>
                </a:solidFill>
                <a:latin typeface="CorpoS" pitchFamily="2" charset="0"/>
              </a:rPr>
              <a:t> Master Data</a:t>
            </a:r>
          </a:p>
        </p:txBody>
      </p:sp>
      <p:sp>
        <p:nvSpPr>
          <p:cNvPr id="20" name="AutoShape 50"/>
          <p:cNvSpPr>
            <a:spLocks noChangeArrowheads="1"/>
          </p:cNvSpPr>
          <p:nvPr>
            <p:custDataLst>
              <p:tags r:id="rId4"/>
            </p:custDataLst>
          </p:nvPr>
        </p:nvSpPr>
        <p:spPr bwMode="auto">
          <a:xfrm>
            <a:off x="5322756" y="4838608"/>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PUE</a:t>
            </a:r>
          </a:p>
        </p:txBody>
      </p:sp>
      <p:pic>
        <p:nvPicPr>
          <p:cNvPr id="23" name="Picture 53" descr="iCON_Logo_neu_transparent"/>
          <p:cNvPicPr>
            <a:picLocks noChangeAspect="1" noChangeArrowheads="1"/>
          </p:cNvPicPr>
          <p:nvPr>
            <p:custDataLst>
              <p:tags r:id="rId5"/>
            </p:custDataLst>
          </p:nvPr>
        </p:nvPicPr>
        <p:blipFill>
          <a:blip r:embed="rId15" cstate="print">
            <a:extLst>
              <a:ext uri="{28A0092B-C50C-407E-A947-70E740481C1C}">
                <a14:useLocalDpi xmlns:a14="http://schemas.microsoft.com/office/drawing/2010/main" xmlns="" val="0"/>
              </a:ext>
            </a:extLst>
          </a:blip>
          <a:srcRect/>
          <a:stretch>
            <a:fillRect/>
          </a:stretch>
        </p:blipFill>
        <p:spPr bwMode="auto">
          <a:xfrm>
            <a:off x="3682075" y="3478213"/>
            <a:ext cx="1405069"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6" name="AutoShape 56"/>
          <p:cNvCxnSpPr>
            <a:cxnSpLocks noChangeShapeType="1"/>
            <a:stCxn id="23" idx="3"/>
            <a:endCxn id="20" idx="0"/>
          </p:cNvCxnSpPr>
          <p:nvPr>
            <p:custDataLst>
              <p:tags r:id="rId6"/>
            </p:custDataLst>
          </p:nvPr>
        </p:nvCxnSpPr>
        <p:spPr bwMode="auto">
          <a:xfrm>
            <a:off x="5087144" y="3801269"/>
            <a:ext cx="742091" cy="1037339"/>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1" name="AutoShape 61"/>
          <p:cNvSpPr>
            <a:spLocks noChangeArrowheads="1"/>
          </p:cNvSpPr>
          <p:nvPr>
            <p:custDataLst>
              <p:tags r:id="rId7"/>
            </p:custDataLst>
          </p:nvPr>
        </p:nvSpPr>
        <p:spPr bwMode="auto">
          <a:xfrm>
            <a:off x="6650436" y="4838608"/>
            <a:ext cx="1110985"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18000" tIns="36000" rIns="54000" bIns="36000" anchor="ctr">
            <a:spAutoFit/>
          </a:bodyPr>
          <a:lstStyle/>
          <a:p>
            <a:pPr>
              <a:spcBef>
                <a:spcPct val="0"/>
              </a:spcBef>
            </a:pPr>
            <a:r>
              <a:rPr lang="de-DE" dirty="0" smtClean="0">
                <a:solidFill>
                  <a:srgbClr val="666666"/>
                </a:solidFill>
              </a:rPr>
              <a:t>MDS/GO</a:t>
            </a:r>
          </a:p>
        </p:txBody>
      </p:sp>
      <p:cxnSp>
        <p:nvCxnSpPr>
          <p:cNvPr id="32" name="AutoShape 62"/>
          <p:cNvCxnSpPr>
            <a:cxnSpLocks noChangeShapeType="1"/>
          </p:cNvCxnSpPr>
          <p:nvPr>
            <p:custDataLst>
              <p:tags r:id="rId8"/>
            </p:custDataLst>
          </p:nvPr>
        </p:nvCxnSpPr>
        <p:spPr bwMode="auto">
          <a:xfrm>
            <a:off x="5087144" y="3810001"/>
            <a:ext cx="2070629" cy="1071563"/>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3" name="AutoShape 52"/>
          <p:cNvSpPr>
            <a:spLocks noChangeArrowheads="1"/>
          </p:cNvSpPr>
          <p:nvPr>
            <p:custDataLst>
              <p:tags r:id="rId9"/>
            </p:custDataLst>
          </p:nvPr>
        </p:nvSpPr>
        <p:spPr bwMode="auto">
          <a:xfrm>
            <a:off x="5322756" y="5329146"/>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VeDoc</a:t>
            </a:r>
          </a:p>
        </p:txBody>
      </p:sp>
      <p:cxnSp>
        <p:nvCxnSpPr>
          <p:cNvPr id="41" name="AutoShape 60"/>
          <p:cNvCxnSpPr>
            <a:cxnSpLocks noChangeShapeType="1"/>
            <a:stCxn id="23" idx="3"/>
            <a:endCxn id="33" idx="1"/>
          </p:cNvCxnSpPr>
          <p:nvPr>
            <p:custDataLst>
              <p:tags r:id="rId10"/>
            </p:custDataLst>
          </p:nvPr>
        </p:nvCxnSpPr>
        <p:spPr bwMode="auto">
          <a:xfrm>
            <a:off x="5087144" y="3801269"/>
            <a:ext cx="235612" cy="1735139"/>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9" name="AutoShape 52"/>
          <p:cNvSpPr>
            <a:spLocks noChangeArrowheads="1"/>
          </p:cNvSpPr>
          <p:nvPr>
            <p:custDataLst>
              <p:tags r:id="rId11"/>
            </p:custDataLst>
          </p:nvPr>
        </p:nvSpPr>
        <p:spPr bwMode="auto">
          <a:xfrm>
            <a:off x="6650435" y="5329146"/>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dirty="0" smtClean="0">
                <a:solidFill>
                  <a:srgbClr val="666666"/>
                </a:solidFill>
              </a:rPr>
              <a:t>MBKS</a:t>
            </a:r>
          </a:p>
        </p:txBody>
      </p:sp>
      <p:cxnSp>
        <p:nvCxnSpPr>
          <p:cNvPr id="50" name="AutoShape 62"/>
          <p:cNvCxnSpPr>
            <a:cxnSpLocks noChangeShapeType="1"/>
            <a:stCxn id="23" idx="3"/>
          </p:cNvCxnSpPr>
          <p:nvPr>
            <p:custDataLst>
              <p:tags r:id="rId12"/>
            </p:custDataLst>
          </p:nvPr>
        </p:nvCxnSpPr>
        <p:spPr bwMode="auto">
          <a:xfrm>
            <a:off x="5087145" y="3801270"/>
            <a:ext cx="1579635" cy="1505819"/>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8" name="Title 47"/>
          <p:cNvSpPr>
            <a:spLocks noGrp="1"/>
          </p:cNvSpPr>
          <p:nvPr>
            <p:ph type="title"/>
          </p:nvPr>
        </p:nvSpPr>
        <p:spPr/>
        <p:txBody>
          <a:bodyPr/>
          <a:lstStyle/>
          <a:p>
            <a:r>
              <a:rPr lang="en-US" sz="2000" b="1" dirty="0" smtClean="0"/>
              <a:t>Master data </a:t>
            </a:r>
            <a:endParaRPr lang="en-US" sz="2000" b="1" dirty="0"/>
          </a:p>
        </p:txBody>
      </p:sp>
      <p:sp>
        <p:nvSpPr>
          <p:cNvPr id="51" name="TextBox 50"/>
          <p:cNvSpPr txBox="1"/>
          <p:nvPr/>
        </p:nvSpPr>
        <p:spPr>
          <a:xfrm>
            <a:off x="272350" y="1772770"/>
            <a:ext cx="3384470" cy="3194721"/>
          </a:xfrm>
          <a:prstGeom prst="rect">
            <a:avLst/>
          </a:prstGeom>
          <a:noFill/>
        </p:spPr>
        <p:txBody>
          <a:bodyPr wrap="square" rtlCol="0">
            <a:spAutoFit/>
          </a:bodyPr>
          <a:lstStyle/>
          <a:p>
            <a:pPr marL="342900" indent="-342900">
              <a:lnSpc>
                <a:spcPct val="90000"/>
              </a:lnSpc>
              <a:buAutoNum type="arabicPeriod"/>
            </a:pPr>
            <a:r>
              <a:rPr lang="en-US" sz="1400" dirty="0" err="1" smtClean="0"/>
              <a:t>VeDoc</a:t>
            </a:r>
            <a:endParaRPr lang="en-US" sz="1400" dirty="0" smtClean="0"/>
          </a:p>
          <a:p>
            <a:pPr marL="821778" lvl="1" indent="-342900">
              <a:lnSpc>
                <a:spcPct val="90000"/>
              </a:lnSpc>
              <a:buFont typeface="Arial" pitchFamily="34" charset="0"/>
              <a:buChar char="•"/>
            </a:pPr>
            <a:r>
              <a:rPr lang="en-US" sz="1400" dirty="0" smtClean="0"/>
              <a:t>Interface to fetch master data </a:t>
            </a:r>
          </a:p>
          <a:p>
            <a:pPr marL="821778" lvl="1" indent="-342900">
              <a:lnSpc>
                <a:spcPct val="90000"/>
              </a:lnSpc>
              <a:buFont typeface="Arial" pitchFamily="34" charset="0"/>
              <a:buChar char="•"/>
            </a:pPr>
            <a:r>
              <a:rPr lang="en-US" sz="1400" dirty="0" smtClean="0"/>
              <a:t>Provides built data on existing vehicles</a:t>
            </a:r>
          </a:p>
          <a:p>
            <a:pPr marL="821778" lvl="1" indent="-342900">
              <a:lnSpc>
                <a:spcPct val="90000"/>
              </a:lnSpc>
            </a:pPr>
            <a:endParaRPr lang="en-US" sz="1400" dirty="0" smtClean="0"/>
          </a:p>
          <a:p>
            <a:pPr marL="342900" indent="-342900">
              <a:lnSpc>
                <a:spcPct val="90000"/>
              </a:lnSpc>
              <a:buAutoNum type="arabicPeriod"/>
            </a:pPr>
            <a:r>
              <a:rPr lang="en-US" sz="1400" dirty="0" smtClean="0"/>
              <a:t>MDS/ </a:t>
            </a:r>
            <a:r>
              <a:rPr lang="en-US" sz="1400" dirty="0" err="1" smtClean="0"/>
              <a:t>GoPPM</a:t>
            </a:r>
            <a:r>
              <a:rPr lang="en-US" sz="1400" dirty="0" smtClean="0"/>
              <a:t>/ PUE</a:t>
            </a:r>
          </a:p>
          <a:p>
            <a:pPr marL="821778" lvl="1" indent="-342900">
              <a:lnSpc>
                <a:spcPct val="90000"/>
              </a:lnSpc>
              <a:buFont typeface="Arial" pitchFamily="34" charset="0"/>
              <a:buChar char="•"/>
            </a:pPr>
            <a:r>
              <a:rPr lang="en-US" sz="1400" dirty="0" smtClean="0"/>
              <a:t>Interface for sales oriented data</a:t>
            </a:r>
          </a:p>
          <a:p>
            <a:pPr marL="821778" lvl="1" indent="-342900">
              <a:lnSpc>
                <a:spcPct val="90000"/>
              </a:lnSpc>
              <a:buFont typeface="Arial" pitchFamily="34" charset="0"/>
              <a:buChar char="•"/>
            </a:pPr>
            <a:r>
              <a:rPr lang="en-US" sz="1400" dirty="0" smtClean="0"/>
              <a:t>MDS:  commercial master data</a:t>
            </a:r>
          </a:p>
          <a:p>
            <a:pPr marL="821778" lvl="1" indent="-342900">
              <a:lnSpc>
                <a:spcPct val="90000"/>
              </a:lnSpc>
              <a:buFont typeface="Arial" pitchFamily="34" charset="0"/>
              <a:buChar char="•"/>
            </a:pPr>
            <a:r>
              <a:rPr lang="en-US" sz="1400" dirty="0" err="1" smtClean="0"/>
              <a:t>GoPPM</a:t>
            </a:r>
            <a:r>
              <a:rPr lang="en-US" sz="1400" dirty="0" smtClean="0"/>
              <a:t>: passenger car master data </a:t>
            </a:r>
          </a:p>
          <a:p>
            <a:pPr marL="821778" lvl="1" indent="-342900">
              <a:lnSpc>
                <a:spcPct val="90000"/>
              </a:lnSpc>
              <a:buFont typeface="Arial" pitchFamily="34" charset="0"/>
              <a:buChar char="•"/>
            </a:pPr>
            <a:r>
              <a:rPr lang="en-US" sz="1400" dirty="0" smtClean="0"/>
              <a:t>PUE: after-sales master data</a:t>
            </a:r>
          </a:p>
          <a:p>
            <a:pPr marL="821778" lvl="1" indent="-342900">
              <a:lnSpc>
                <a:spcPct val="90000"/>
              </a:lnSpc>
              <a:buFont typeface="Arial" pitchFamily="34" charset="0"/>
              <a:buChar char="•"/>
            </a:pPr>
            <a:r>
              <a:rPr lang="en-US" sz="1400" dirty="0" smtClean="0"/>
              <a:t>MBKS: pricing and vehicle master data </a:t>
            </a:r>
          </a:p>
          <a:p>
            <a:pPr marL="342900" indent="-342900">
              <a:lnSpc>
                <a:spcPct val="90000"/>
              </a:lnSpc>
              <a:buAutoNum type="arabicPeriod"/>
            </a:pPr>
            <a:endParaRPr lang="en-US" sz="1400" dirty="0" smtClean="0"/>
          </a:p>
        </p:txBody>
      </p:sp>
    </p:spTree>
    <p:extLst>
      <p:ext uri="{BB962C8B-B14F-4D97-AF65-F5344CB8AC3E}">
        <p14:creationId xmlns:p14="http://schemas.microsoft.com/office/powerpoint/2010/main" xmlns="" val="36823855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xmlns="" val="2759830511"/>
              </p:ext>
            </p:extLst>
          </p:nvPr>
        </p:nvGraphicFramePr>
        <p:xfrm>
          <a:off x="1721" y="1589"/>
          <a:ext cx="1719" cy="1587"/>
        </p:xfrm>
        <a:graphic>
          <a:graphicData uri="http://schemas.openxmlformats.org/presentationml/2006/ole">
            <p:oleObj spid="_x0000_s185346" name="think-cell Slide" r:id="rId12" imgW="360" imgH="360" progId="">
              <p:embed/>
            </p:oleObj>
          </a:graphicData>
        </a:graphic>
      </p:graphicFrame>
      <p:sp>
        <p:nvSpPr>
          <p:cNvPr id="39" name="Rectangle 41"/>
          <p:cNvSpPr>
            <a:spLocks noChangeArrowheads="1"/>
          </p:cNvSpPr>
          <p:nvPr>
            <p:custDataLst>
              <p:tags r:id="rId2"/>
            </p:custDataLst>
          </p:nvPr>
        </p:nvSpPr>
        <p:spPr bwMode="auto">
          <a:xfrm>
            <a:off x="662121" y="4562476"/>
            <a:ext cx="2940844" cy="1763713"/>
          </a:xfrm>
          <a:prstGeom prst="rect">
            <a:avLst/>
          </a:prstGeom>
          <a:solidFill>
            <a:schemeClr val="accent5">
              <a:lumMod val="20000"/>
              <a:lumOff val="80000"/>
            </a:schemeClr>
          </a:solidFill>
          <a:ln w="9525" algn="ctr">
            <a:solidFill>
              <a:schemeClr val="tx1"/>
            </a:solidFill>
            <a:prstDash val="dashDot"/>
            <a:miter lim="800000"/>
            <a:headEnd/>
            <a:tailEnd/>
          </a:ln>
          <a:effectLst/>
          <a:extLst/>
        </p:spPr>
        <p:txBody>
          <a:bodyPr wrap="none" anchor="ctr"/>
          <a:lstStyle/>
          <a:p>
            <a:pPr algn="l">
              <a:spcBef>
                <a:spcPct val="0"/>
              </a:spcBef>
            </a:pPr>
            <a:endParaRPr lang="en-US" sz="1800" smtClean="0">
              <a:solidFill>
                <a:srgbClr val="000000"/>
              </a:solidFill>
              <a:latin typeface="Arial" charset="0"/>
            </a:endParaRPr>
          </a:p>
        </p:txBody>
      </p:sp>
      <p:sp>
        <p:nvSpPr>
          <p:cNvPr id="15" name="Text Box 45"/>
          <p:cNvSpPr txBox="1">
            <a:spLocks noChangeArrowheads="1"/>
          </p:cNvSpPr>
          <p:nvPr>
            <p:custDataLst>
              <p:tags r:id="rId3"/>
            </p:custDataLst>
          </p:nvPr>
        </p:nvSpPr>
        <p:spPr bwMode="auto">
          <a:xfrm>
            <a:off x="847858" y="5680076"/>
            <a:ext cx="1706164" cy="657479"/>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pPr>
            <a:r>
              <a:rPr lang="de-DE" dirty="0" smtClean="0">
                <a:solidFill>
                  <a:srgbClr val="666666"/>
                </a:solidFill>
                <a:latin typeface="CorpoS" pitchFamily="2" charset="0"/>
              </a:rPr>
              <a:t>Improvement financial </a:t>
            </a:r>
          </a:p>
          <a:p>
            <a:pPr algn="l" eaLnBrk="1" hangingPunct="1">
              <a:spcBef>
                <a:spcPct val="0"/>
              </a:spcBef>
            </a:pPr>
            <a:r>
              <a:rPr lang="de-DE" dirty="0" smtClean="0">
                <a:solidFill>
                  <a:srgbClr val="666666"/>
                </a:solidFill>
                <a:latin typeface="CorpoS" pitchFamily="2" charset="0"/>
              </a:rPr>
              <a:t>Processes and claiming</a:t>
            </a:r>
          </a:p>
        </p:txBody>
      </p:sp>
      <p:sp>
        <p:nvSpPr>
          <p:cNvPr id="21" name="AutoShape 51"/>
          <p:cNvSpPr>
            <a:spLocks noChangeArrowheads="1"/>
          </p:cNvSpPr>
          <p:nvPr>
            <p:custDataLst>
              <p:tags r:id="rId4"/>
            </p:custDataLst>
          </p:nvPr>
        </p:nvSpPr>
        <p:spPr bwMode="auto">
          <a:xfrm>
            <a:off x="1002639" y="4872760"/>
            <a:ext cx="1129903" cy="34463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18000" tIns="36000" rIns="54000" bIns="36000" anchor="ctr">
            <a:spAutoFit/>
          </a:bodyPr>
          <a:lstStyle/>
          <a:p>
            <a:pPr>
              <a:spcBef>
                <a:spcPct val="0"/>
              </a:spcBef>
            </a:pPr>
            <a:r>
              <a:rPr lang="de-DE" sz="1500" dirty="0" smtClean="0">
                <a:solidFill>
                  <a:srgbClr val="666666"/>
                </a:solidFill>
              </a:rPr>
              <a:t>EVA/VEGA</a:t>
            </a:r>
          </a:p>
        </p:txBody>
      </p:sp>
      <p:sp>
        <p:nvSpPr>
          <p:cNvPr id="22" name="AutoShape 52"/>
          <p:cNvSpPr>
            <a:spLocks noChangeArrowheads="1"/>
          </p:cNvSpPr>
          <p:nvPr>
            <p:custDataLst>
              <p:tags r:id="rId5"/>
            </p:custDataLst>
          </p:nvPr>
        </p:nvSpPr>
        <p:spPr bwMode="auto">
          <a:xfrm>
            <a:off x="2330319" y="4838608"/>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CoFiCo</a:t>
            </a:r>
          </a:p>
        </p:txBody>
      </p:sp>
      <p:pic>
        <p:nvPicPr>
          <p:cNvPr id="23" name="Picture 53" descr="iCON_Logo_neu_transparent"/>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xmlns="" val="0"/>
              </a:ext>
            </a:extLst>
          </a:blip>
          <a:srcRect/>
          <a:stretch>
            <a:fillRect/>
          </a:stretch>
        </p:blipFill>
        <p:spPr bwMode="auto">
          <a:xfrm>
            <a:off x="3682075" y="3478213"/>
            <a:ext cx="1405069" cy="646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9" name="AutoShape 59"/>
          <p:cNvCxnSpPr>
            <a:cxnSpLocks noChangeShapeType="1"/>
            <a:stCxn id="23" idx="2"/>
            <a:endCxn id="21" idx="0"/>
          </p:cNvCxnSpPr>
          <p:nvPr>
            <p:custDataLst>
              <p:tags r:id="rId7"/>
            </p:custDataLst>
          </p:nvPr>
        </p:nvCxnSpPr>
        <p:spPr bwMode="auto">
          <a:xfrm rot="5400000">
            <a:off x="2601884" y="3090033"/>
            <a:ext cx="748435" cy="2817019"/>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 name="AutoShape 60"/>
          <p:cNvCxnSpPr>
            <a:cxnSpLocks noChangeShapeType="1"/>
            <a:stCxn id="23" idx="2"/>
            <a:endCxn id="22" idx="0"/>
          </p:cNvCxnSpPr>
          <p:nvPr>
            <p:custDataLst>
              <p:tags r:id="rId8"/>
            </p:custDataLst>
          </p:nvPr>
        </p:nvCxnSpPr>
        <p:spPr bwMode="auto">
          <a:xfrm rot="5400000">
            <a:off x="3253563" y="3707560"/>
            <a:ext cx="714283" cy="1547812"/>
          </a:xfrm>
          <a:prstGeom prst="curvedConnector3">
            <a:avLst>
              <a:gd name="adj1" fmla="val 50000"/>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4" name="AutoShape 52"/>
          <p:cNvSpPr>
            <a:spLocks noChangeArrowheads="1"/>
          </p:cNvSpPr>
          <p:nvPr>
            <p:custDataLst>
              <p:tags r:id="rId9"/>
            </p:custDataLst>
          </p:nvPr>
        </p:nvSpPr>
        <p:spPr bwMode="auto">
          <a:xfrm>
            <a:off x="2330319" y="5341846"/>
            <a:ext cx="1012957" cy="414523"/>
          </a:xfrm>
          <a:prstGeom prst="foldedCorner">
            <a:avLst>
              <a:gd name="adj" fmla="val 12500"/>
            </a:avLst>
          </a:prstGeom>
          <a:solidFill>
            <a:schemeClr val="bg2"/>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a:spcBef>
                <a:spcPct val="0"/>
              </a:spcBef>
            </a:pPr>
            <a:r>
              <a:rPr lang="de-DE" smtClean="0">
                <a:solidFill>
                  <a:srgbClr val="666666"/>
                </a:solidFill>
              </a:rPr>
              <a:t>Scarf</a:t>
            </a:r>
          </a:p>
        </p:txBody>
      </p:sp>
      <p:cxnSp>
        <p:nvCxnSpPr>
          <p:cNvPr id="46" name="AutoShape 60"/>
          <p:cNvCxnSpPr>
            <a:cxnSpLocks noChangeShapeType="1"/>
            <a:stCxn id="23" idx="2"/>
          </p:cNvCxnSpPr>
          <p:nvPr>
            <p:custDataLst>
              <p:tags r:id="rId10"/>
            </p:custDataLst>
          </p:nvPr>
        </p:nvCxnSpPr>
        <p:spPr bwMode="auto">
          <a:xfrm rot="5400000">
            <a:off x="3093508" y="4102365"/>
            <a:ext cx="1270000" cy="1313921"/>
          </a:xfrm>
          <a:prstGeom prst="curvedConnector2">
            <a:avLst/>
          </a:prstGeom>
          <a:noFill/>
          <a:ln w="28575">
            <a:solidFill>
              <a:srgbClr val="0070C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7" name="Title 46"/>
          <p:cNvSpPr>
            <a:spLocks noGrp="1"/>
          </p:cNvSpPr>
          <p:nvPr>
            <p:ph type="title"/>
          </p:nvPr>
        </p:nvSpPr>
        <p:spPr/>
        <p:txBody>
          <a:bodyPr/>
          <a:lstStyle/>
          <a:p>
            <a:r>
              <a:rPr lang="en-US" sz="2000" b="1" dirty="0" smtClean="0"/>
              <a:t>Financial systems</a:t>
            </a:r>
            <a:endParaRPr lang="en-US" sz="2000" b="1" dirty="0"/>
          </a:p>
        </p:txBody>
      </p:sp>
      <p:sp>
        <p:nvSpPr>
          <p:cNvPr id="48" name="TextBox 47"/>
          <p:cNvSpPr txBox="1"/>
          <p:nvPr/>
        </p:nvSpPr>
        <p:spPr>
          <a:xfrm>
            <a:off x="5745110" y="1484730"/>
            <a:ext cx="3528490" cy="286232"/>
          </a:xfrm>
          <a:prstGeom prst="rect">
            <a:avLst/>
          </a:prstGeom>
          <a:noFill/>
        </p:spPr>
        <p:txBody>
          <a:bodyPr wrap="square" rtlCol="0">
            <a:spAutoFit/>
          </a:bodyPr>
          <a:lstStyle/>
          <a:p>
            <a:pPr>
              <a:lnSpc>
                <a:spcPct val="90000"/>
              </a:lnSpc>
            </a:pPr>
            <a:endParaRPr lang="en-US" sz="1400" dirty="0" smtClean="0"/>
          </a:p>
        </p:txBody>
      </p:sp>
      <p:sp>
        <p:nvSpPr>
          <p:cNvPr id="51" name="TextBox 50"/>
          <p:cNvSpPr txBox="1"/>
          <p:nvPr/>
        </p:nvSpPr>
        <p:spPr>
          <a:xfrm>
            <a:off x="5961140" y="1340710"/>
            <a:ext cx="3240450" cy="3776418"/>
          </a:xfrm>
          <a:prstGeom prst="rect">
            <a:avLst/>
          </a:prstGeom>
          <a:noFill/>
        </p:spPr>
        <p:txBody>
          <a:bodyPr wrap="square" rtlCol="0">
            <a:spAutoFit/>
          </a:bodyPr>
          <a:lstStyle/>
          <a:p>
            <a:pPr marL="342900" indent="-342900">
              <a:lnSpc>
                <a:spcPct val="90000"/>
              </a:lnSpc>
              <a:buAutoNum type="arabicPeriod"/>
            </a:pPr>
            <a:r>
              <a:rPr lang="en-US" sz="1400" dirty="0" err="1" smtClean="0"/>
              <a:t>CoFiCo</a:t>
            </a:r>
            <a:endParaRPr lang="en-US" sz="1400" dirty="0" smtClean="0"/>
          </a:p>
          <a:p>
            <a:pPr marL="342900" indent="-342900">
              <a:lnSpc>
                <a:spcPct val="90000"/>
              </a:lnSpc>
              <a:buFont typeface="Arial" pitchFamily="34" charset="0"/>
              <a:buChar char="•"/>
            </a:pPr>
            <a:r>
              <a:rPr lang="en-US" sz="1400" dirty="0" smtClean="0"/>
              <a:t>Interface for payment data related to claims</a:t>
            </a:r>
          </a:p>
          <a:p>
            <a:pPr marL="342900" indent="-342900">
              <a:lnSpc>
                <a:spcPct val="90000"/>
              </a:lnSpc>
              <a:buFont typeface="Arial" pitchFamily="34" charset="0"/>
              <a:buChar char="•"/>
            </a:pPr>
            <a:r>
              <a:rPr lang="en-US" sz="1400" dirty="0" smtClean="0"/>
              <a:t>Data pulled from iCON + SIRIUS</a:t>
            </a:r>
          </a:p>
          <a:p>
            <a:pPr marL="342900" indent="-342900">
              <a:lnSpc>
                <a:spcPct val="90000"/>
              </a:lnSpc>
              <a:buFont typeface="Arial" pitchFamily="34" charset="0"/>
              <a:buChar char="•"/>
            </a:pPr>
            <a:r>
              <a:rPr lang="en-US" sz="1400" dirty="0" smtClean="0"/>
              <a:t>Provides cost data as basis for booking</a:t>
            </a:r>
          </a:p>
          <a:p>
            <a:pPr marL="342900" indent="-342900">
              <a:lnSpc>
                <a:spcPct val="90000"/>
              </a:lnSpc>
            </a:pPr>
            <a:endParaRPr lang="en-US" sz="1400" dirty="0" smtClean="0"/>
          </a:p>
          <a:p>
            <a:pPr marL="342900" indent="-342900">
              <a:lnSpc>
                <a:spcPct val="90000"/>
              </a:lnSpc>
            </a:pPr>
            <a:r>
              <a:rPr lang="en-US" sz="1400" dirty="0" smtClean="0"/>
              <a:t>2. VEGA</a:t>
            </a:r>
          </a:p>
          <a:p>
            <a:pPr marL="342900" indent="-342900">
              <a:lnSpc>
                <a:spcPct val="90000"/>
              </a:lnSpc>
              <a:buFont typeface="Arial" pitchFamily="34" charset="0"/>
              <a:buChar char="•"/>
            </a:pPr>
            <a:r>
              <a:rPr lang="en-US" sz="1400" dirty="0" smtClean="0"/>
              <a:t>Interface for the warranty system of claims and damages</a:t>
            </a:r>
          </a:p>
          <a:p>
            <a:pPr marL="342900" indent="-342900">
              <a:lnSpc>
                <a:spcPct val="90000"/>
              </a:lnSpc>
              <a:buFont typeface="Arial" pitchFamily="34" charset="0"/>
              <a:buChar char="•"/>
            </a:pPr>
            <a:r>
              <a:rPr lang="en-US" sz="1400" dirty="0" smtClean="0"/>
              <a:t>Helps create balance sheet of cost and revenues</a:t>
            </a:r>
          </a:p>
          <a:p>
            <a:pPr marL="342900" indent="-342900">
              <a:lnSpc>
                <a:spcPct val="90000"/>
              </a:lnSpc>
            </a:pPr>
            <a:endParaRPr lang="en-US" sz="1400" dirty="0" smtClean="0"/>
          </a:p>
          <a:p>
            <a:pPr marL="342900" indent="-342900">
              <a:lnSpc>
                <a:spcPct val="90000"/>
              </a:lnSpc>
            </a:pPr>
            <a:r>
              <a:rPr lang="en-US" sz="1400" dirty="0" smtClean="0"/>
              <a:t>3. Scarf</a:t>
            </a:r>
          </a:p>
          <a:p>
            <a:pPr marL="342900" indent="-342900">
              <a:lnSpc>
                <a:spcPct val="90000"/>
              </a:lnSpc>
              <a:buFont typeface="Arial" pitchFamily="34" charset="0"/>
              <a:buChar char="•"/>
            </a:pPr>
            <a:r>
              <a:rPr lang="en-US" sz="1400" dirty="0" smtClean="0"/>
              <a:t>Interface for risk forecasting and cost accruals</a:t>
            </a:r>
          </a:p>
          <a:p>
            <a:pPr marL="342900" indent="-342900">
              <a:lnSpc>
                <a:spcPct val="90000"/>
              </a:lnSpc>
              <a:buFont typeface="Arial" pitchFamily="34" charset="0"/>
              <a:buChar char="•"/>
            </a:pPr>
            <a:r>
              <a:rPr lang="en-US" sz="1400" dirty="0" smtClean="0"/>
              <a:t>Provides SC data, revenue and invoice data</a:t>
            </a:r>
          </a:p>
          <a:p>
            <a:pPr marL="342900" indent="-342900">
              <a:lnSpc>
                <a:spcPct val="90000"/>
              </a:lnSpc>
              <a:buFont typeface="Arial" pitchFamily="34" charset="0"/>
              <a:buChar char="•"/>
            </a:pPr>
            <a:endParaRPr lang="en-US" sz="1400" dirty="0" smtClean="0"/>
          </a:p>
        </p:txBody>
      </p:sp>
      <p:cxnSp>
        <p:nvCxnSpPr>
          <p:cNvPr id="17" name="Shape 16"/>
          <p:cNvCxnSpPr>
            <a:stCxn id="21" idx="0"/>
            <a:endCxn id="23" idx="1"/>
          </p:cNvCxnSpPr>
          <p:nvPr/>
        </p:nvCxnSpPr>
        <p:spPr>
          <a:xfrm rot="5400000" flipH="1" flipV="1">
            <a:off x="2089088" y="3279773"/>
            <a:ext cx="1071491" cy="2114484"/>
          </a:xfrm>
          <a:prstGeom prst="curvedConnector2">
            <a:avLst/>
          </a:prstGeom>
          <a:noFill/>
          <a:ln w="28575">
            <a:solidFill>
              <a:srgbClr val="0070C0"/>
            </a:solidFill>
            <a:round/>
            <a:headEnd/>
            <a:tailEnd type="triangle" w="med" len="med"/>
          </a:ln>
          <a:effectLst/>
        </p:spPr>
      </p:cxnSp>
      <p:sp>
        <p:nvSpPr>
          <p:cNvPr id="16" name="TextBox 15"/>
          <p:cNvSpPr txBox="1"/>
          <p:nvPr/>
        </p:nvSpPr>
        <p:spPr>
          <a:xfrm>
            <a:off x="1352500" y="3789050"/>
            <a:ext cx="1051891" cy="286232"/>
          </a:xfrm>
          <a:prstGeom prst="rect">
            <a:avLst/>
          </a:prstGeom>
          <a:noFill/>
        </p:spPr>
        <p:txBody>
          <a:bodyPr wrap="none" rtlCol="0">
            <a:spAutoFit/>
          </a:bodyPr>
          <a:lstStyle/>
          <a:p>
            <a:pPr>
              <a:lnSpc>
                <a:spcPct val="90000"/>
              </a:lnSpc>
            </a:pPr>
            <a:r>
              <a:rPr lang="en-US" sz="1400" dirty="0" smtClean="0"/>
              <a:t>CLAI costs</a:t>
            </a:r>
          </a:p>
        </p:txBody>
      </p:sp>
      <p:cxnSp>
        <p:nvCxnSpPr>
          <p:cNvPr id="19" name="Shape 18"/>
          <p:cNvCxnSpPr>
            <a:stCxn id="22" idx="0"/>
          </p:cNvCxnSpPr>
          <p:nvPr/>
        </p:nvCxnSpPr>
        <p:spPr>
          <a:xfrm rot="5400000" flipH="1" flipV="1">
            <a:off x="3046075" y="3939823"/>
            <a:ext cx="689508" cy="1108062"/>
          </a:xfrm>
          <a:prstGeom prst="curvedConnector2">
            <a:avLst/>
          </a:prstGeom>
          <a:noFill/>
          <a:ln w="28575">
            <a:solidFill>
              <a:srgbClr val="0070C0"/>
            </a:solidFill>
            <a:round/>
            <a:headEnd/>
            <a:tailEnd type="triangle" w="med" len="med"/>
          </a:ln>
          <a:effectLst/>
        </p:spPr>
      </p:cxnSp>
      <p:sp>
        <p:nvSpPr>
          <p:cNvPr id="20" name="TextBox 19"/>
          <p:cNvSpPr txBox="1"/>
          <p:nvPr/>
        </p:nvSpPr>
        <p:spPr>
          <a:xfrm>
            <a:off x="2792700" y="4005080"/>
            <a:ext cx="910827" cy="286232"/>
          </a:xfrm>
          <a:prstGeom prst="rect">
            <a:avLst/>
          </a:prstGeom>
          <a:noFill/>
        </p:spPr>
        <p:txBody>
          <a:bodyPr wrap="none" rtlCol="0">
            <a:spAutoFit/>
          </a:bodyPr>
          <a:lstStyle/>
          <a:p>
            <a:pPr>
              <a:lnSpc>
                <a:spcPct val="90000"/>
              </a:lnSpc>
            </a:pPr>
            <a:r>
              <a:rPr lang="en-US" sz="1400" smtClean="0"/>
              <a:t>feedback</a:t>
            </a:r>
            <a:endParaRPr lang="en-US" sz="1400" dirty="0" smtClean="0"/>
          </a:p>
        </p:txBody>
      </p:sp>
    </p:spTree>
    <p:extLst>
      <p:ext uri="{BB962C8B-B14F-4D97-AF65-F5344CB8AC3E}">
        <p14:creationId xmlns:p14="http://schemas.microsoft.com/office/powerpoint/2010/main" xmlns="" val="5246740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AB3D899-B8D0-4377-A989-F1D7D03694EF}" type="datetime1">
              <a:rPr lang="en-US" smtClean="0"/>
              <a:pPr/>
              <a:t>1/22/2018</a:t>
            </a:fld>
            <a:endParaRPr lang="en-US"/>
          </a:p>
        </p:txBody>
      </p:sp>
      <p:sp>
        <p:nvSpPr>
          <p:cNvPr id="6" name="Slide Number Placeholder 5"/>
          <p:cNvSpPr>
            <a:spLocks noGrp="1"/>
          </p:cNvSpPr>
          <p:nvPr>
            <p:ph type="sldNum" sz="quarter" idx="11"/>
          </p:nvPr>
        </p:nvSpPr>
        <p:spPr/>
        <p:txBody>
          <a:bodyPr/>
          <a:lstStyle/>
          <a:p>
            <a:fld id="{F9B0DA3F-1170-4793-871F-540ADC894E9D}" type="slidenum">
              <a:rPr lang="en-US" smtClean="0"/>
              <a:pPr/>
              <a:t>19</a:t>
            </a:fld>
            <a:endParaRPr lang="en-US"/>
          </a:p>
        </p:txBody>
      </p:sp>
      <p:sp>
        <p:nvSpPr>
          <p:cNvPr id="5" name="Footer Placeholder 4"/>
          <p:cNvSpPr>
            <a:spLocks noGrp="1"/>
          </p:cNvSpPr>
          <p:nvPr>
            <p:ph type="ftr" sz="quarter" idx="12"/>
          </p:nvPr>
        </p:nvSpPr>
        <p:spPr/>
        <p:txBody>
          <a:bodyPr/>
          <a:lstStyle/>
          <a:p>
            <a:endParaRPr lang="en-US"/>
          </a:p>
        </p:txBody>
      </p:sp>
      <p:sp>
        <p:nvSpPr>
          <p:cNvPr id="8" name="TextBox 7"/>
          <p:cNvSpPr txBox="1"/>
          <p:nvPr/>
        </p:nvSpPr>
        <p:spPr>
          <a:xfrm>
            <a:off x="272350" y="2348850"/>
            <a:ext cx="5472760" cy="867930"/>
          </a:xfrm>
          <a:prstGeom prst="rect">
            <a:avLst/>
          </a:prstGeom>
          <a:noFill/>
        </p:spPr>
        <p:txBody>
          <a:bodyPr wrap="square" rtlCol="0">
            <a:spAutoFit/>
          </a:bodyPr>
          <a:lstStyle/>
          <a:p>
            <a:pPr>
              <a:lnSpc>
                <a:spcPct val="90000"/>
              </a:lnSpc>
            </a:pPr>
            <a:r>
              <a:rPr lang="en-US" sz="2800" b="1" dirty="0" smtClean="0"/>
              <a:t>II. Development team</a:t>
            </a:r>
          </a:p>
          <a:p>
            <a:pPr>
              <a:lnSpc>
                <a:spcPct val="90000"/>
              </a:lnSpc>
            </a:pPr>
            <a:r>
              <a:rPr lang="en-US" sz="2800" b="1" dirty="0" smtClean="0"/>
              <a:t> (On shore – Off shore model)</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AB3D899-B8D0-4377-A989-F1D7D03694EF}" type="datetime1">
              <a:rPr lang="en-US" smtClean="0"/>
              <a:pPr/>
              <a:t>1/22/2018</a:t>
            </a:fld>
            <a:endParaRPr lang="en-US"/>
          </a:p>
        </p:txBody>
      </p:sp>
      <p:sp>
        <p:nvSpPr>
          <p:cNvPr id="6" name="Slide Number Placeholder 5"/>
          <p:cNvSpPr>
            <a:spLocks noGrp="1"/>
          </p:cNvSpPr>
          <p:nvPr>
            <p:ph type="sldNum" sz="quarter" idx="11"/>
          </p:nvPr>
        </p:nvSpPr>
        <p:spPr/>
        <p:txBody>
          <a:bodyPr/>
          <a:lstStyle/>
          <a:p>
            <a:fld id="{F9B0DA3F-1170-4793-871F-540ADC894E9D}" type="slidenum">
              <a:rPr lang="en-US" smtClean="0"/>
              <a:pPr/>
              <a:t>2</a:t>
            </a:fld>
            <a:endParaRPr lang="en-US"/>
          </a:p>
        </p:txBody>
      </p:sp>
      <p:sp>
        <p:nvSpPr>
          <p:cNvPr id="5" name="Footer Placeholder 4"/>
          <p:cNvSpPr>
            <a:spLocks noGrp="1"/>
          </p:cNvSpPr>
          <p:nvPr>
            <p:ph type="ftr" sz="quarter" idx="12"/>
          </p:nvPr>
        </p:nvSpPr>
        <p:spPr/>
        <p:txBody>
          <a:bodyPr/>
          <a:lstStyle/>
          <a:p>
            <a:endParaRPr lang="en-US"/>
          </a:p>
        </p:txBody>
      </p:sp>
      <p:sp>
        <p:nvSpPr>
          <p:cNvPr id="8" name="TextBox 7"/>
          <p:cNvSpPr txBox="1"/>
          <p:nvPr/>
        </p:nvSpPr>
        <p:spPr>
          <a:xfrm>
            <a:off x="272350" y="2348850"/>
            <a:ext cx="5472760" cy="480131"/>
          </a:xfrm>
          <a:prstGeom prst="rect">
            <a:avLst/>
          </a:prstGeom>
          <a:noFill/>
        </p:spPr>
        <p:txBody>
          <a:bodyPr wrap="square" rtlCol="0">
            <a:spAutoFit/>
          </a:bodyPr>
          <a:lstStyle/>
          <a:p>
            <a:pPr>
              <a:lnSpc>
                <a:spcPct val="90000"/>
              </a:lnSpc>
            </a:pPr>
            <a:r>
              <a:rPr lang="en-US" sz="2800" b="1" dirty="0" smtClean="0">
                <a:latin typeface="+mj-lt"/>
              </a:rPr>
              <a:t>I. Business flow</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0841100-289B-4BB7-810C-239D343C92D0}"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20</a:t>
            </a:fld>
            <a:endParaRPr lang="en-US"/>
          </a:p>
        </p:txBody>
      </p:sp>
      <p:pic>
        <p:nvPicPr>
          <p:cNvPr id="175107" name="Picture 3" descr="D:\Users\rvangury\Desktop\iCON Demo\AD AM model.JPG"/>
          <p:cNvPicPr>
            <a:picLocks noChangeAspect="1" noChangeArrowheads="1"/>
          </p:cNvPicPr>
          <p:nvPr/>
        </p:nvPicPr>
        <p:blipFill>
          <a:blip r:embed="rId2"/>
          <a:srcRect/>
          <a:stretch>
            <a:fillRect/>
          </a:stretch>
        </p:blipFill>
        <p:spPr bwMode="auto">
          <a:xfrm>
            <a:off x="1496520" y="1268700"/>
            <a:ext cx="7113300" cy="4896680"/>
          </a:xfrm>
          <a:prstGeom prst="rect">
            <a:avLst/>
          </a:prstGeom>
          <a:noFill/>
        </p:spPr>
      </p:pic>
      <p:sp>
        <p:nvSpPr>
          <p:cNvPr id="10" name="TextBox 9"/>
          <p:cNvSpPr txBox="1"/>
          <p:nvPr/>
        </p:nvSpPr>
        <p:spPr>
          <a:xfrm>
            <a:off x="0" y="260560"/>
            <a:ext cx="8172450" cy="369332"/>
          </a:xfrm>
          <a:prstGeom prst="rect">
            <a:avLst/>
          </a:prstGeom>
          <a:noFill/>
        </p:spPr>
        <p:txBody>
          <a:bodyPr wrap="square" rtlCol="0">
            <a:spAutoFit/>
          </a:bodyPr>
          <a:lstStyle/>
          <a:p>
            <a:pPr defTabSz="914342">
              <a:lnSpc>
                <a:spcPct val="90000"/>
              </a:lnSpc>
              <a:spcBef>
                <a:spcPct val="0"/>
              </a:spcBef>
            </a:pPr>
            <a:r>
              <a:rPr lang="en-US" sz="2000" b="1" dirty="0" smtClean="0">
                <a:latin typeface="+mj-lt"/>
                <a:ea typeface="+mj-ea"/>
                <a:cs typeface="+mj-cs"/>
              </a:rPr>
              <a:t>Delivery models</a:t>
            </a:r>
            <a:endParaRPr lang="en-US" sz="2000" b="1" dirty="0">
              <a:latin typeface="+mj-lt"/>
              <a:ea typeface="+mj-ea"/>
              <a:cs typeface="+mj-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Application delivery </a:t>
            </a:r>
            <a:endParaRPr lang="en-US" sz="2000" b="1" dirty="0"/>
          </a:p>
        </p:txBody>
      </p:sp>
      <p:sp>
        <p:nvSpPr>
          <p:cNvPr id="3" name="Content Placeholder 2"/>
          <p:cNvSpPr>
            <a:spLocks noGrp="1"/>
          </p:cNvSpPr>
          <p:nvPr>
            <p:ph idx="1"/>
          </p:nvPr>
        </p:nvSpPr>
        <p:spPr/>
        <p:txBody>
          <a:bodyPr/>
          <a:lstStyle/>
          <a:p>
            <a:pPr>
              <a:buFont typeface="Arial" pitchFamily="34" charset="0"/>
              <a:buChar char="•"/>
            </a:pPr>
            <a:r>
              <a:rPr lang="en-US" dirty="0" smtClean="0"/>
              <a:t> Model driven approach</a:t>
            </a:r>
          </a:p>
          <a:p>
            <a:pPr>
              <a:buFont typeface="Arial" pitchFamily="34" charset="0"/>
              <a:buChar char="•"/>
            </a:pPr>
            <a:r>
              <a:rPr lang="en-US" dirty="0" smtClean="0"/>
              <a:t> IBM RSA (Rational Software Architect) required for model creation</a:t>
            </a:r>
          </a:p>
          <a:p>
            <a:pPr>
              <a:buFont typeface="Arial" pitchFamily="34" charset="0"/>
              <a:buChar char="•"/>
            </a:pPr>
            <a:r>
              <a:rPr lang="en-US" dirty="0" smtClean="0"/>
              <a:t> Model design completed by BA </a:t>
            </a:r>
          </a:p>
          <a:p>
            <a:pPr>
              <a:buFont typeface="Arial" pitchFamily="34" charset="0"/>
              <a:buChar char="•"/>
            </a:pPr>
            <a:r>
              <a:rPr lang="en-US" dirty="0" smtClean="0"/>
              <a:t> Model completes major % of code generation</a:t>
            </a:r>
          </a:p>
          <a:p>
            <a:pPr>
              <a:buFont typeface="Arial" pitchFamily="34" charset="0"/>
              <a:buChar char="•"/>
            </a:pPr>
            <a:r>
              <a:rPr lang="en-US" dirty="0" smtClean="0"/>
              <a:t> Nightly build runs for code generation</a:t>
            </a:r>
          </a:p>
          <a:p>
            <a:pPr>
              <a:buFont typeface="Arial" pitchFamily="34" charset="0"/>
              <a:buChar char="•"/>
            </a:pPr>
            <a:r>
              <a:rPr lang="en-US" dirty="0" smtClean="0"/>
              <a:t> MAVEN provides read-only view of model and explanation</a:t>
            </a:r>
          </a:p>
          <a:p>
            <a:endParaRPr lang="en-US" dirty="0" smtClean="0"/>
          </a:p>
          <a:p>
            <a:r>
              <a:rPr lang="en-US" dirty="0" smtClean="0"/>
              <a:t> </a:t>
            </a:r>
          </a:p>
        </p:txBody>
      </p:sp>
      <p:sp>
        <p:nvSpPr>
          <p:cNvPr id="4" name="Date Placeholder 3"/>
          <p:cNvSpPr>
            <a:spLocks noGrp="1"/>
          </p:cNvSpPr>
          <p:nvPr>
            <p:ph type="dt" sz="half" idx="10"/>
          </p:nvPr>
        </p:nvSpPr>
        <p:spPr/>
        <p:txBody>
          <a:bodyPr/>
          <a:lstStyle/>
          <a:p>
            <a:fld id="{1910FEDC-2B86-40DD-B1BB-78F83B3404E7}"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21</a:t>
            </a:fld>
            <a:endParaRPr lang="en-US"/>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Development &amp; Testing environments</a:t>
            </a:r>
            <a:endParaRPr lang="en-US" sz="2000" b="1" dirty="0"/>
          </a:p>
        </p:txBody>
      </p:sp>
      <p:sp>
        <p:nvSpPr>
          <p:cNvPr id="3" name="Content Placeholder 2"/>
          <p:cNvSpPr>
            <a:spLocks noGrp="1"/>
          </p:cNvSpPr>
          <p:nvPr>
            <p:ph idx="1"/>
          </p:nvPr>
        </p:nvSpPr>
        <p:spPr/>
        <p:txBody>
          <a:bodyPr/>
          <a:lstStyle/>
          <a:p>
            <a:pPr>
              <a:buFont typeface="Arial" pitchFamily="34" charset="0"/>
              <a:buChar char="•"/>
            </a:pPr>
            <a:r>
              <a:rPr lang="en-US" dirty="0" smtClean="0"/>
              <a:t> 4 internal environments</a:t>
            </a:r>
          </a:p>
          <a:p>
            <a:pPr lvl="2"/>
            <a:r>
              <a:rPr lang="en-US" dirty="0" smtClean="0"/>
              <a:t>CGDev1</a:t>
            </a:r>
          </a:p>
          <a:p>
            <a:pPr lvl="2"/>
            <a:r>
              <a:rPr lang="en-US" dirty="0" smtClean="0"/>
              <a:t>CGDev2</a:t>
            </a:r>
          </a:p>
          <a:p>
            <a:pPr lvl="2"/>
            <a:r>
              <a:rPr lang="en-US" dirty="0" smtClean="0"/>
              <a:t>CGDev3</a:t>
            </a:r>
          </a:p>
          <a:p>
            <a:pPr lvl="2"/>
            <a:r>
              <a:rPr lang="en-US" dirty="0" smtClean="0"/>
              <a:t>CGDev4</a:t>
            </a:r>
          </a:p>
          <a:p>
            <a:pPr lvl="2"/>
            <a:endParaRPr lang="en-US" dirty="0" smtClean="0"/>
          </a:p>
          <a:p>
            <a:pPr>
              <a:buFont typeface="Arial" pitchFamily="34" charset="0"/>
              <a:buChar char="•"/>
            </a:pPr>
            <a:r>
              <a:rPr lang="en-US" dirty="0" smtClean="0"/>
              <a:t> 5 external environments</a:t>
            </a:r>
          </a:p>
          <a:p>
            <a:pPr lvl="2"/>
            <a:r>
              <a:rPr lang="en-US" dirty="0" smtClean="0"/>
              <a:t>DiaDev1</a:t>
            </a:r>
          </a:p>
          <a:p>
            <a:pPr lvl="2"/>
            <a:r>
              <a:rPr lang="en-US" dirty="0" smtClean="0"/>
              <a:t>DiaDev2</a:t>
            </a:r>
          </a:p>
          <a:p>
            <a:pPr lvl="2"/>
            <a:r>
              <a:rPr lang="en-US" dirty="0" smtClean="0"/>
              <a:t>DiaDev3</a:t>
            </a:r>
          </a:p>
          <a:p>
            <a:pPr lvl="2"/>
            <a:r>
              <a:rPr lang="en-US" dirty="0" smtClean="0"/>
              <a:t>DiaDev4</a:t>
            </a:r>
          </a:p>
          <a:p>
            <a:pPr lvl="2"/>
            <a:r>
              <a:rPr lang="en-US" dirty="0" smtClean="0"/>
              <a:t>DiaDev5</a:t>
            </a:r>
          </a:p>
          <a:p>
            <a:pPr lvl="2"/>
            <a:endParaRPr lang="en-US" dirty="0" smtClean="0"/>
          </a:p>
          <a:p>
            <a:pPr lvl="1"/>
            <a:r>
              <a:rPr lang="en-US" dirty="0" smtClean="0"/>
              <a:t>Note: To view current status of all servers, go to  Confluence &gt; Technical &gt; Environments &gt; Current </a:t>
            </a:r>
            <a:r>
              <a:rPr lang="en-US" dirty="0" err="1" smtClean="0"/>
              <a:t>env</a:t>
            </a:r>
            <a:r>
              <a:rPr lang="en-US" dirty="0" smtClean="0"/>
              <a:t>. Status</a:t>
            </a:r>
          </a:p>
          <a:p>
            <a:pPr lvl="1"/>
            <a:r>
              <a:rPr lang="en-US" dirty="0" smtClean="0">
                <a:hlinkClick r:id="rId2"/>
              </a:rPr>
              <a:t>https://seu.sdm.de/pu/daimler/build/confluence/display/ICON</a:t>
            </a:r>
            <a:endParaRPr lang="en-US" dirty="0" smtClean="0"/>
          </a:p>
          <a:p>
            <a:pPr lvl="1"/>
            <a:endParaRPr lang="en-US" dirty="0" smtClean="0"/>
          </a:p>
          <a:p>
            <a:pPr lvl="2"/>
            <a:endParaRPr lang="en-US" dirty="0" smtClean="0"/>
          </a:p>
          <a:p>
            <a:pPr lvl="2"/>
            <a:endParaRPr lang="en-US" dirty="0" smtClean="0"/>
          </a:p>
          <a:p>
            <a:pPr lvl="2"/>
            <a:endParaRPr lang="en-US" dirty="0"/>
          </a:p>
        </p:txBody>
      </p:sp>
      <p:sp>
        <p:nvSpPr>
          <p:cNvPr id="4" name="Date Placeholder 3"/>
          <p:cNvSpPr>
            <a:spLocks noGrp="1"/>
          </p:cNvSpPr>
          <p:nvPr>
            <p:ph type="dt" sz="half" idx="10"/>
          </p:nvPr>
        </p:nvSpPr>
        <p:spPr/>
        <p:txBody>
          <a:bodyPr/>
          <a:lstStyle/>
          <a:p>
            <a:fld id="{92CD30B7-2FC8-4370-A291-8F14C23B8BC3}"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22</a:t>
            </a:fld>
            <a:endParaRPr 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08480" y="1124680"/>
            <a:ext cx="8137130" cy="496869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2" name="Title 1"/>
          <p:cNvSpPr>
            <a:spLocks noGrp="1"/>
          </p:cNvSpPr>
          <p:nvPr>
            <p:ph type="title"/>
          </p:nvPr>
        </p:nvSpPr>
        <p:spPr/>
        <p:txBody>
          <a:bodyPr/>
          <a:lstStyle/>
          <a:p>
            <a:r>
              <a:rPr lang="en-US" sz="2000" b="1" dirty="0" smtClean="0"/>
              <a:t>Entity Relationship for server architecture</a:t>
            </a:r>
            <a:endParaRPr lang="en-US" sz="2000" b="1" dirty="0"/>
          </a:p>
        </p:txBody>
      </p:sp>
      <p:sp>
        <p:nvSpPr>
          <p:cNvPr id="4" name="Date Placeholder 3"/>
          <p:cNvSpPr>
            <a:spLocks noGrp="1"/>
          </p:cNvSpPr>
          <p:nvPr>
            <p:ph type="dt" sz="half" idx="10"/>
          </p:nvPr>
        </p:nvSpPr>
        <p:spPr/>
        <p:txBody>
          <a:bodyPr/>
          <a:lstStyle/>
          <a:p>
            <a:fld id="{D1CB1B1E-E956-4919-B481-E564CBAC049E}"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23</a:t>
            </a:fld>
            <a:endParaRPr lang="en-US"/>
          </a:p>
        </p:txBody>
      </p:sp>
      <p:pic>
        <p:nvPicPr>
          <p:cNvPr id="195586" name="Picture 2"/>
          <p:cNvPicPr>
            <a:picLocks noGrp="1" noChangeAspect="1" noChangeArrowheads="1"/>
          </p:cNvPicPr>
          <p:nvPr>
            <p:ph idx="1"/>
          </p:nvPr>
        </p:nvPicPr>
        <p:blipFill>
          <a:blip r:embed="rId2"/>
          <a:srcRect/>
          <a:stretch>
            <a:fillRect/>
          </a:stretch>
        </p:blipFill>
        <p:spPr bwMode="auto">
          <a:xfrm>
            <a:off x="1352500" y="1268700"/>
            <a:ext cx="7819904" cy="46370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1981200" y="1124680"/>
            <a:ext cx="18873" cy="525673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7264400" y="980660"/>
            <a:ext cx="0" cy="540075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540250" y="1052670"/>
            <a:ext cx="0" cy="532874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19" name="Diagram 18"/>
          <p:cNvGraphicFramePr/>
          <p:nvPr/>
        </p:nvGraphicFramePr>
        <p:xfrm>
          <a:off x="2476500" y="1412719"/>
          <a:ext cx="1468360" cy="12241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0" name="Diagram 19"/>
          <p:cNvGraphicFramePr/>
          <p:nvPr/>
        </p:nvGraphicFramePr>
        <p:xfrm>
          <a:off x="5118100" y="1293839"/>
          <a:ext cx="1485900" cy="1371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1" name="Diagram 20"/>
          <p:cNvGraphicFramePr/>
          <p:nvPr/>
        </p:nvGraphicFramePr>
        <p:xfrm>
          <a:off x="7842250" y="1293839"/>
          <a:ext cx="1485900" cy="13716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22" name="Right Arrow 21"/>
          <p:cNvSpPr/>
          <p:nvPr/>
        </p:nvSpPr>
        <p:spPr>
          <a:xfrm>
            <a:off x="4232900" y="170075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8" name="Diagram 27"/>
          <p:cNvGraphicFramePr/>
          <p:nvPr/>
        </p:nvGraphicFramePr>
        <p:xfrm>
          <a:off x="5169030" y="2708899"/>
          <a:ext cx="1485900" cy="137160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29" name="Diagram 28"/>
          <p:cNvGraphicFramePr/>
          <p:nvPr/>
        </p:nvGraphicFramePr>
        <p:xfrm>
          <a:off x="7833400" y="2708899"/>
          <a:ext cx="1485900" cy="1296180"/>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cxnSp>
        <p:nvCxnSpPr>
          <p:cNvPr id="32" name="Straight Connector 31"/>
          <p:cNvCxnSpPr/>
          <p:nvPr/>
        </p:nvCxnSpPr>
        <p:spPr>
          <a:xfrm>
            <a:off x="0" y="2665439"/>
            <a:ext cx="990600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0" y="4077089"/>
            <a:ext cx="990600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0" y="5484839"/>
            <a:ext cx="990600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45" name="Diagram 44"/>
          <p:cNvGraphicFramePr/>
          <p:nvPr/>
        </p:nvGraphicFramePr>
        <p:xfrm>
          <a:off x="5118100" y="4149100"/>
          <a:ext cx="1485900" cy="1259539"/>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46" name="Diagram 45"/>
          <p:cNvGraphicFramePr/>
          <p:nvPr/>
        </p:nvGraphicFramePr>
        <p:xfrm>
          <a:off x="7924800" y="4341839"/>
          <a:ext cx="1485900" cy="990600"/>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52" name="Diagram 51"/>
          <p:cNvGraphicFramePr/>
          <p:nvPr/>
        </p:nvGraphicFramePr>
        <p:xfrm>
          <a:off x="5118100" y="5517291"/>
          <a:ext cx="1485900" cy="864120"/>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53" name="Diagram 52"/>
          <p:cNvGraphicFramePr/>
          <p:nvPr/>
        </p:nvGraphicFramePr>
        <p:xfrm>
          <a:off x="7905410" y="5733320"/>
          <a:ext cx="1485900" cy="442001"/>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sp>
        <p:nvSpPr>
          <p:cNvPr id="63" name="Rectangle 62"/>
          <p:cNvSpPr/>
          <p:nvPr/>
        </p:nvSpPr>
        <p:spPr>
          <a:xfrm>
            <a:off x="2504660" y="3140959"/>
            <a:ext cx="1440200" cy="432060"/>
          </a:xfrm>
          <a:prstGeom prst="rect">
            <a:avLst/>
          </a:prstGeom>
          <a:solidFill>
            <a:srgbClr val="0070C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algn="ctr" defTabSz="714375" fontAlgn="base">
              <a:lnSpc>
                <a:spcPct val="90000"/>
              </a:lnSpc>
              <a:buClr>
                <a:schemeClr val="tx2"/>
              </a:buClr>
            </a:pPr>
            <a:r>
              <a:rPr lang="en-US" sz="1200" b="1" dirty="0" smtClean="0">
                <a:solidFill>
                  <a:schemeClr val="bg1"/>
                </a:solidFill>
                <a:latin typeface="+mj-lt"/>
              </a:rPr>
              <a:t>CR document</a:t>
            </a:r>
          </a:p>
        </p:txBody>
      </p:sp>
      <p:sp>
        <p:nvSpPr>
          <p:cNvPr id="64" name="Rectangle 63"/>
          <p:cNvSpPr/>
          <p:nvPr/>
        </p:nvSpPr>
        <p:spPr>
          <a:xfrm>
            <a:off x="2504660" y="4509149"/>
            <a:ext cx="1440200" cy="432060"/>
          </a:xfrm>
          <a:prstGeom prst="rect">
            <a:avLst/>
          </a:prstGeom>
          <a:solidFill>
            <a:srgbClr val="0070C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algn="ctr" defTabSz="714375" fontAlgn="base">
              <a:lnSpc>
                <a:spcPct val="90000"/>
              </a:lnSpc>
              <a:buClr>
                <a:schemeClr val="tx2"/>
              </a:buClr>
            </a:pPr>
            <a:r>
              <a:rPr lang="en-US" sz="1200" b="1" dirty="0" smtClean="0">
                <a:solidFill>
                  <a:schemeClr val="bg1"/>
                </a:solidFill>
                <a:latin typeface="+mj-lt"/>
              </a:rPr>
              <a:t>LLD</a:t>
            </a:r>
          </a:p>
        </p:txBody>
      </p:sp>
      <p:sp>
        <p:nvSpPr>
          <p:cNvPr id="65" name="Rectangle 64"/>
          <p:cNvSpPr/>
          <p:nvPr/>
        </p:nvSpPr>
        <p:spPr>
          <a:xfrm>
            <a:off x="2432650" y="5589299"/>
            <a:ext cx="1440200" cy="432060"/>
          </a:xfrm>
          <a:prstGeom prst="rect">
            <a:avLst/>
          </a:prstGeom>
          <a:solidFill>
            <a:srgbClr val="0070C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r>
              <a:rPr lang="en-US" sz="1200" b="1" dirty="0" smtClean="0">
                <a:solidFill>
                  <a:schemeClr val="bg1"/>
                </a:solidFill>
                <a:latin typeface="+mj-lt"/>
              </a:rPr>
              <a:t>Source </a:t>
            </a:r>
          </a:p>
          <a:p>
            <a:pPr marL="0" algn="ctr" defTabSz="714375" fontAlgn="base">
              <a:lnSpc>
                <a:spcPct val="90000"/>
              </a:lnSpc>
              <a:buClr>
                <a:schemeClr val="tx2"/>
              </a:buClr>
            </a:pPr>
            <a:r>
              <a:rPr lang="en-US" sz="1200" b="1" dirty="0" smtClean="0">
                <a:solidFill>
                  <a:schemeClr val="bg1"/>
                </a:solidFill>
                <a:latin typeface="+mj-lt"/>
              </a:rPr>
              <a:t>code</a:t>
            </a:r>
          </a:p>
        </p:txBody>
      </p:sp>
      <p:sp>
        <p:nvSpPr>
          <p:cNvPr id="67" name="Oval 66"/>
          <p:cNvSpPr/>
          <p:nvPr/>
        </p:nvSpPr>
        <p:spPr>
          <a:xfrm>
            <a:off x="416370" y="1556739"/>
            <a:ext cx="1208480" cy="720100"/>
          </a:xfrm>
          <a:prstGeom prst="ellipse">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b="1" dirty="0" smtClean="0"/>
              <a:t>BA</a:t>
            </a:r>
            <a:endParaRPr lang="en-US" sz="1200" b="1" dirty="0"/>
          </a:p>
        </p:txBody>
      </p:sp>
      <p:sp>
        <p:nvSpPr>
          <p:cNvPr id="37" name="Right Arrow 36"/>
          <p:cNvSpPr/>
          <p:nvPr/>
        </p:nvSpPr>
        <p:spPr>
          <a:xfrm>
            <a:off x="6969280" y="170075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ight Arrow 37"/>
          <p:cNvSpPr/>
          <p:nvPr/>
        </p:nvSpPr>
        <p:spPr>
          <a:xfrm>
            <a:off x="4304910" y="314095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a:off x="7041290" y="314095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ight Arrow 47"/>
          <p:cNvSpPr/>
          <p:nvPr/>
        </p:nvSpPr>
        <p:spPr>
          <a:xfrm>
            <a:off x="4304910" y="450914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ight Arrow 48"/>
          <p:cNvSpPr/>
          <p:nvPr/>
        </p:nvSpPr>
        <p:spPr>
          <a:xfrm>
            <a:off x="7041290" y="450914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ight Arrow 53"/>
          <p:cNvSpPr/>
          <p:nvPr/>
        </p:nvSpPr>
        <p:spPr>
          <a:xfrm>
            <a:off x="4304910" y="558929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ight Arrow 54"/>
          <p:cNvSpPr/>
          <p:nvPr/>
        </p:nvSpPr>
        <p:spPr>
          <a:xfrm>
            <a:off x="7041290" y="5589299"/>
            <a:ext cx="660400" cy="4572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p:cNvSpPr txBox="1"/>
          <p:nvPr/>
        </p:nvSpPr>
        <p:spPr>
          <a:xfrm>
            <a:off x="0" y="260560"/>
            <a:ext cx="8172450" cy="400110"/>
          </a:xfrm>
          <a:prstGeom prst="rect">
            <a:avLst/>
          </a:prstGeom>
          <a:noFill/>
        </p:spPr>
        <p:txBody>
          <a:bodyPr wrap="square" rtlCol="0">
            <a:spAutoFit/>
          </a:bodyPr>
          <a:lstStyle/>
          <a:p>
            <a:r>
              <a:rPr lang="en-US" sz="2000" b="1" dirty="0" smtClean="0">
                <a:latin typeface="+mj-lt"/>
              </a:rPr>
              <a:t>Delivery process</a:t>
            </a:r>
            <a:endParaRPr lang="en-US" sz="2000" b="1" dirty="0">
              <a:latin typeface="+mj-lt"/>
            </a:endParaRPr>
          </a:p>
        </p:txBody>
      </p:sp>
      <p:sp>
        <p:nvSpPr>
          <p:cNvPr id="57" name="Oval 56"/>
          <p:cNvSpPr/>
          <p:nvPr/>
        </p:nvSpPr>
        <p:spPr>
          <a:xfrm>
            <a:off x="416370" y="3068949"/>
            <a:ext cx="1208480" cy="720100"/>
          </a:xfrm>
          <a:prstGeom prst="ellipse">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b="1" dirty="0" smtClean="0"/>
              <a:t>Tester + Tech leads</a:t>
            </a:r>
            <a:endParaRPr lang="en-US" sz="1200" b="1" dirty="0"/>
          </a:p>
        </p:txBody>
      </p:sp>
      <p:sp>
        <p:nvSpPr>
          <p:cNvPr id="58" name="Oval 57"/>
          <p:cNvSpPr/>
          <p:nvPr/>
        </p:nvSpPr>
        <p:spPr>
          <a:xfrm>
            <a:off x="488380" y="4365129"/>
            <a:ext cx="1208480" cy="720100"/>
          </a:xfrm>
          <a:prstGeom prst="ellipse">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b="1" dirty="0" smtClean="0"/>
              <a:t>Dev team + testers</a:t>
            </a:r>
            <a:endParaRPr lang="en-US" sz="1200" b="1" dirty="0"/>
          </a:p>
        </p:txBody>
      </p:sp>
      <p:sp>
        <p:nvSpPr>
          <p:cNvPr id="59" name="Oval 58"/>
          <p:cNvSpPr/>
          <p:nvPr/>
        </p:nvSpPr>
        <p:spPr>
          <a:xfrm>
            <a:off x="488380" y="5589299"/>
            <a:ext cx="1208480" cy="720100"/>
          </a:xfrm>
          <a:prstGeom prst="ellipse">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200" b="1" dirty="0" smtClean="0"/>
              <a:t>BA + Testers</a:t>
            </a:r>
            <a:endParaRPr lang="en-US" sz="1200" b="1" dirty="0"/>
          </a:p>
        </p:txBody>
      </p:sp>
      <p:cxnSp>
        <p:nvCxnSpPr>
          <p:cNvPr id="83" name="Straight Connector 82"/>
          <p:cNvCxnSpPr/>
          <p:nvPr/>
        </p:nvCxnSpPr>
        <p:spPr>
          <a:xfrm>
            <a:off x="2000590" y="1340710"/>
            <a:ext cx="790541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2360640" y="1052670"/>
            <a:ext cx="1656230" cy="286232"/>
          </a:xfrm>
          <a:prstGeom prst="rect">
            <a:avLst/>
          </a:prstGeom>
          <a:noFill/>
        </p:spPr>
        <p:txBody>
          <a:bodyPr wrap="square" rtlCol="0">
            <a:spAutoFit/>
          </a:bodyPr>
          <a:lstStyle/>
          <a:p>
            <a:pPr algn="ctr">
              <a:lnSpc>
                <a:spcPct val="90000"/>
              </a:lnSpc>
            </a:pPr>
            <a:r>
              <a:rPr lang="en-US" sz="1400" b="1" u="sng" dirty="0" smtClean="0"/>
              <a:t>Input</a:t>
            </a:r>
          </a:p>
        </p:txBody>
      </p:sp>
      <p:sp>
        <p:nvSpPr>
          <p:cNvPr id="89" name="TextBox 88"/>
          <p:cNvSpPr txBox="1"/>
          <p:nvPr/>
        </p:nvSpPr>
        <p:spPr>
          <a:xfrm>
            <a:off x="5025010" y="1052670"/>
            <a:ext cx="1656230" cy="286232"/>
          </a:xfrm>
          <a:prstGeom prst="rect">
            <a:avLst/>
          </a:prstGeom>
          <a:noFill/>
        </p:spPr>
        <p:txBody>
          <a:bodyPr wrap="square" rtlCol="0">
            <a:spAutoFit/>
          </a:bodyPr>
          <a:lstStyle/>
          <a:p>
            <a:pPr algn="ctr">
              <a:lnSpc>
                <a:spcPct val="90000"/>
              </a:lnSpc>
            </a:pPr>
            <a:r>
              <a:rPr lang="en-US" sz="1400" b="1" u="sng" dirty="0" smtClean="0"/>
              <a:t>Process</a:t>
            </a:r>
          </a:p>
        </p:txBody>
      </p:sp>
      <p:sp>
        <p:nvSpPr>
          <p:cNvPr id="90" name="TextBox 89"/>
          <p:cNvSpPr txBox="1"/>
          <p:nvPr/>
        </p:nvSpPr>
        <p:spPr>
          <a:xfrm>
            <a:off x="7761390" y="1052670"/>
            <a:ext cx="1656230" cy="286232"/>
          </a:xfrm>
          <a:prstGeom prst="rect">
            <a:avLst/>
          </a:prstGeom>
          <a:noFill/>
        </p:spPr>
        <p:txBody>
          <a:bodyPr wrap="square" rtlCol="0">
            <a:spAutoFit/>
          </a:bodyPr>
          <a:lstStyle/>
          <a:p>
            <a:pPr algn="ctr">
              <a:lnSpc>
                <a:spcPct val="90000"/>
              </a:lnSpc>
            </a:pPr>
            <a:r>
              <a:rPr lang="en-US" sz="1400" b="1" u="sng" dirty="0" smtClean="0"/>
              <a:t>Output</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CA7300F-B376-4272-BC9C-229A940D4CB4}"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25</a:t>
            </a:fld>
            <a:endParaRPr lang="en-US"/>
          </a:p>
        </p:txBody>
      </p:sp>
      <p:sp>
        <p:nvSpPr>
          <p:cNvPr id="8" name="TextBox 7"/>
          <p:cNvSpPr txBox="1"/>
          <p:nvPr/>
        </p:nvSpPr>
        <p:spPr>
          <a:xfrm>
            <a:off x="0" y="260560"/>
            <a:ext cx="8172450" cy="400110"/>
          </a:xfrm>
          <a:prstGeom prst="rect">
            <a:avLst/>
          </a:prstGeom>
          <a:noFill/>
        </p:spPr>
        <p:txBody>
          <a:bodyPr wrap="square" rtlCol="0">
            <a:spAutoFit/>
          </a:bodyPr>
          <a:lstStyle/>
          <a:p>
            <a:r>
              <a:rPr lang="en-US" sz="2000" b="1" dirty="0" smtClean="0">
                <a:latin typeface="+mj-lt"/>
              </a:rPr>
              <a:t>Quality measures : Testing process</a:t>
            </a:r>
            <a:endParaRPr lang="en-US" sz="2000" b="1" dirty="0">
              <a:latin typeface="+mj-lt"/>
            </a:endParaRPr>
          </a:p>
        </p:txBody>
      </p:sp>
      <p:pic>
        <p:nvPicPr>
          <p:cNvPr id="191490" name="Object 1"/>
          <p:cNvPicPr>
            <a:picLocks noChangeArrowheads="1"/>
          </p:cNvPicPr>
          <p:nvPr/>
        </p:nvPicPr>
        <p:blipFill>
          <a:blip r:embed="rId2"/>
          <a:srcRect b="-156"/>
          <a:stretch>
            <a:fillRect/>
          </a:stretch>
        </p:blipFill>
        <p:spPr bwMode="auto">
          <a:xfrm>
            <a:off x="1208480" y="1340710"/>
            <a:ext cx="7777080" cy="475266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CA7300F-B376-4272-BC9C-229A940D4CB4}"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26</a:t>
            </a:fld>
            <a:endParaRPr lang="en-US"/>
          </a:p>
        </p:txBody>
      </p:sp>
      <p:sp>
        <p:nvSpPr>
          <p:cNvPr id="8" name="TextBox 7"/>
          <p:cNvSpPr txBox="1"/>
          <p:nvPr/>
        </p:nvSpPr>
        <p:spPr>
          <a:xfrm>
            <a:off x="0" y="260560"/>
            <a:ext cx="8172450" cy="400110"/>
          </a:xfrm>
          <a:prstGeom prst="rect">
            <a:avLst/>
          </a:prstGeom>
          <a:noFill/>
        </p:spPr>
        <p:txBody>
          <a:bodyPr wrap="square" rtlCol="0">
            <a:spAutoFit/>
          </a:bodyPr>
          <a:lstStyle/>
          <a:p>
            <a:r>
              <a:rPr lang="en-US" sz="2000" b="1" dirty="0" smtClean="0"/>
              <a:t>Quality measures : Testing process</a:t>
            </a:r>
            <a:endParaRPr lang="en-US" sz="2000" b="1" dirty="0"/>
          </a:p>
        </p:txBody>
      </p:sp>
      <p:pic>
        <p:nvPicPr>
          <p:cNvPr id="192516" name="Picture 4"/>
          <p:cNvPicPr>
            <a:picLocks noChangeAspect="1" noChangeArrowheads="1"/>
          </p:cNvPicPr>
          <p:nvPr/>
        </p:nvPicPr>
        <p:blipFill>
          <a:blip r:embed="rId2"/>
          <a:srcRect/>
          <a:stretch>
            <a:fillRect/>
          </a:stretch>
        </p:blipFill>
        <p:spPr bwMode="auto">
          <a:xfrm>
            <a:off x="2216620" y="1268700"/>
            <a:ext cx="4895850" cy="482467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just">
              <a:lnSpc>
                <a:spcPct val="150000"/>
              </a:lnSpc>
              <a:buFont typeface="Arial" pitchFamily="34" charset="0"/>
              <a:buChar char="•"/>
            </a:pPr>
            <a:r>
              <a:rPr lang="en-US" dirty="0" smtClean="0"/>
              <a:t> </a:t>
            </a:r>
            <a:r>
              <a:rPr lang="en-US" dirty="0" err="1" smtClean="0"/>
              <a:t>iCON</a:t>
            </a:r>
            <a:r>
              <a:rPr lang="en-US" dirty="0" smtClean="0"/>
              <a:t> stands for </a:t>
            </a:r>
            <a:r>
              <a:rPr lang="en-US" u="sng" dirty="0" smtClean="0">
                <a:solidFill>
                  <a:srgbClr val="0070C0"/>
                </a:solidFill>
              </a:rPr>
              <a:t>i</a:t>
            </a:r>
            <a:r>
              <a:rPr lang="en-US" dirty="0" smtClean="0"/>
              <a:t>nternational </a:t>
            </a:r>
            <a:r>
              <a:rPr lang="en-US" u="sng" dirty="0" err="1" smtClean="0">
                <a:solidFill>
                  <a:srgbClr val="0070C0"/>
                </a:solidFill>
              </a:rPr>
              <a:t>CON</a:t>
            </a:r>
            <a:r>
              <a:rPr lang="en-US" dirty="0" err="1" smtClean="0"/>
              <a:t>tract</a:t>
            </a:r>
            <a:r>
              <a:rPr lang="en-US" dirty="0" smtClean="0"/>
              <a:t> Management system </a:t>
            </a:r>
          </a:p>
          <a:p>
            <a:pPr algn="just">
              <a:lnSpc>
                <a:spcPct val="150000"/>
              </a:lnSpc>
              <a:buFont typeface="Arial" pitchFamily="34" charset="0"/>
              <a:buChar char="•"/>
            </a:pPr>
            <a:r>
              <a:rPr lang="en-US" dirty="0" smtClean="0"/>
              <a:t> Developed for Daimler</a:t>
            </a:r>
          </a:p>
          <a:p>
            <a:pPr algn="just">
              <a:lnSpc>
                <a:spcPct val="150000"/>
              </a:lnSpc>
              <a:buFont typeface="Arial" pitchFamily="34" charset="0"/>
              <a:buChar char="•"/>
            </a:pPr>
            <a:r>
              <a:rPr lang="en-US" dirty="0" smtClean="0"/>
              <a:t> Serves after-sales operations </a:t>
            </a:r>
          </a:p>
          <a:p>
            <a:pPr algn="just">
              <a:lnSpc>
                <a:spcPct val="150000"/>
              </a:lnSpc>
              <a:buFont typeface="Arial" pitchFamily="34" charset="0"/>
              <a:buChar char="•"/>
            </a:pPr>
            <a:r>
              <a:rPr lang="en-US" dirty="0" smtClean="0"/>
              <a:t> Intended consumers are dealers; their salesmen and workshops</a:t>
            </a:r>
          </a:p>
          <a:p>
            <a:pPr algn="just">
              <a:lnSpc>
                <a:spcPct val="150000"/>
              </a:lnSpc>
              <a:buFont typeface="Arial" pitchFamily="34" charset="0"/>
              <a:buChar char="•"/>
            </a:pPr>
            <a:r>
              <a:rPr lang="en-US" dirty="0" smtClean="0"/>
              <a:t> </a:t>
            </a:r>
            <a:r>
              <a:rPr lang="en-US" dirty="0" err="1" smtClean="0"/>
              <a:t>iCON</a:t>
            </a:r>
            <a:r>
              <a:rPr lang="en-US" dirty="0" smtClean="0"/>
              <a:t> was handed over to </a:t>
            </a:r>
            <a:r>
              <a:rPr lang="en-US" dirty="0" err="1" smtClean="0"/>
              <a:t>CapGemini</a:t>
            </a:r>
            <a:r>
              <a:rPr lang="en-US" dirty="0" smtClean="0"/>
              <a:t> from another major IT player</a:t>
            </a:r>
          </a:p>
          <a:p>
            <a:pPr algn="just">
              <a:lnSpc>
                <a:spcPct val="150000"/>
              </a:lnSpc>
              <a:buFont typeface="Arial" pitchFamily="34" charset="0"/>
              <a:buChar char="•"/>
            </a:pPr>
            <a:r>
              <a:rPr lang="en-US" dirty="0" smtClean="0"/>
              <a:t> iCON currently handles tenant specific operations</a:t>
            </a:r>
          </a:p>
          <a:p>
            <a:pPr algn="just">
              <a:lnSpc>
                <a:spcPct val="150000"/>
              </a:lnSpc>
              <a:buFont typeface="Arial" pitchFamily="34" charset="0"/>
              <a:buChar char="•"/>
            </a:pPr>
            <a:r>
              <a:rPr lang="en-US" dirty="0" smtClean="0"/>
              <a:t> Data can be extracted from </a:t>
            </a:r>
            <a:r>
              <a:rPr lang="en-US" dirty="0" err="1" smtClean="0"/>
              <a:t>iCON</a:t>
            </a:r>
            <a:r>
              <a:rPr lang="en-US" dirty="0" smtClean="0"/>
              <a:t> for reporting purposes</a:t>
            </a:r>
            <a:endParaRPr lang="en-US" dirty="0"/>
          </a:p>
        </p:txBody>
      </p:sp>
      <p:sp>
        <p:nvSpPr>
          <p:cNvPr id="4" name="Date Placeholder 3"/>
          <p:cNvSpPr>
            <a:spLocks noGrp="1"/>
          </p:cNvSpPr>
          <p:nvPr>
            <p:ph type="dt" sz="half" idx="10"/>
          </p:nvPr>
        </p:nvSpPr>
        <p:spPr/>
        <p:txBody>
          <a:bodyPr/>
          <a:lstStyle/>
          <a:p>
            <a:fld id="{5D3C279C-630D-41E2-A782-A6C1FE378489}"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3</a:t>
            </a:fld>
            <a:endParaRPr lang="en-US"/>
          </a:p>
        </p:txBody>
      </p:sp>
      <p:sp>
        <p:nvSpPr>
          <p:cNvPr id="7" name="Title 1"/>
          <p:cNvSpPr>
            <a:spLocks noGrp="1"/>
          </p:cNvSpPr>
          <p:nvPr>
            <p:ph type="title"/>
          </p:nvPr>
        </p:nvSpPr>
        <p:spPr/>
        <p:txBody>
          <a:bodyPr/>
          <a:lstStyle/>
          <a:p>
            <a:r>
              <a:rPr lang="en-US" sz="2400" b="1" dirty="0" smtClean="0"/>
              <a:t>What is iCON</a:t>
            </a:r>
            <a:endParaRPr lang="en-US" sz="2400" b="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136470" y="1196690"/>
            <a:ext cx="8569190" cy="504070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2" name="Title 1"/>
          <p:cNvSpPr>
            <a:spLocks noGrp="1"/>
          </p:cNvSpPr>
          <p:nvPr>
            <p:ph type="title"/>
          </p:nvPr>
        </p:nvSpPr>
        <p:spPr/>
        <p:txBody>
          <a:bodyPr/>
          <a:lstStyle/>
          <a:p>
            <a:r>
              <a:rPr lang="en-US" sz="2000" b="1" dirty="0" smtClean="0"/>
              <a:t>Lines of Business</a:t>
            </a:r>
            <a:endParaRPr lang="en-US" sz="2000" b="1" dirty="0"/>
          </a:p>
        </p:txBody>
      </p:sp>
      <p:sp>
        <p:nvSpPr>
          <p:cNvPr id="4" name="Date Placeholder 3"/>
          <p:cNvSpPr>
            <a:spLocks noGrp="1"/>
          </p:cNvSpPr>
          <p:nvPr>
            <p:ph type="dt" sz="half" idx="10"/>
          </p:nvPr>
        </p:nvSpPr>
        <p:spPr/>
        <p:txBody>
          <a:bodyPr/>
          <a:lstStyle/>
          <a:p>
            <a:fld id="{CF6280D9-8010-4656-855C-8C3560B2C496}"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4</a:t>
            </a:fld>
            <a:endParaRPr lang="en-US"/>
          </a:p>
        </p:txBody>
      </p:sp>
      <p:pic>
        <p:nvPicPr>
          <p:cNvPr id="197634" name="Picture 2"/>
          <p:cNvPicPr>
            <a:picLocks noGrp="1" noChangeAspect="1" noChangeArrowheads="1"/>
          </p:cNvPicPr>
          <p:nvPr>
            <p:ph idx="1"/>
          </p:nvPr>
        </p:nvPicPr>
        <p:blipFill>
          <a:blip r:embed="rId2"/>
          <a:srcRect/>
          <a:stretch>
            <a:fillRect/>
          </a:stretch>
        </p:blipFill>
        <p:spPr bwMode="auto">
          <a:xfrm>
            <a:off x="1280490" y="1556740"/>
            <a:ext cx="1419225" cy="2571750"/>
          </a:xfrm>
          <a:prstGeom prst="rect">
            <a:avLst/>
          </a:prstGeom>
          <a:noFill/>
          <a:ln w="9525">
            <a:noFill/>
            <a:miter lim="800000"/>
            <a:headEnd/>
            <a:tailEnd/>
          </a:ln>
        </p:spPr>
      </p:pic>
      <p:pic>
        <p:nvPicPr>
          <p:cNvPr id="197635" name="Picture 3"/>
          <p:cNvPicPr>
            <a:picLocks noChangeAspect="1" noChangeArrowheads="1"/>
          </p:cNvPicPr>
          <p:nvPr/>
        </p:nvPicPr>
        <p:blipFill>
          <a:blip r:embed="rId3"/>
          <a:srcRect/>
          <a:stretch>
            <a:fillRect/>
          </a:stretch>
        </p:blipFill>
        <p:spPr bwMode="auto">
          <a:xfrm>
            <a:off x="4736970" y="3501010"/>
            <a:ext cx="1400175" cy="2638425"/>
          </a:xfrm>
          <a:prstGeom prst="rect">
            <a:avLst/>
          </a:prstGeom>
          <a:noFill/>
          <a:ln w="9525">
            <a:noFill/>
            <a:miter lim="800000"/>
            <a:headEnd/>
            <a:tailEnd/>
          </a:ln>
        </p:spPr>
      </p:pic>
      <p:pic>
        <p:nvPicPr>
          <p:cNvPr id="197636" name="Picture 4"/>
          <p:cNvPicPr>
            <a:picLocks noChangeAspect="1" noChangeArrowheads="1"/>
          </p:cNvPicPr>
          <p:nvPr/>
        </p:nvPicPr>
        <p:blipFill>
          <a:blip r:embed="rId4"/>
          <a:srcRect/>
          <a:stretch>
            <a:fillRect/>
          </a:stretch>
        </p:blipFill>
        <p:spPr bwMode="auto">
          <a:xfrm>
            <a:off x="2936720" y="2492870"/>
            <a:ext cx="1438275" cy="2600325"/>
          </a:xfrm>
          <a:prstGeom prst="rect">
            <a:avLst/>
          </a:prstGeom>
          <a:noFill/>
          <a:ln w="9525">
            <a:noFill/>
            <a:miter lim="800000"/>
            <a:headEnd/>
            <a:tailEnd/>
          </a:ln>
        </p:spPr>
      </p:pic>
      <p:pic>
        <p:nvPicPr>
          <p:cNvPr id="197637" name="Picture 5"/>
          <p:cNvPicPr>
            <a:picLocks noChangeAspect="1" noChangeArrowheads="1"/>
          </p:cNvPicPr>
          <p:nvPr/>
        </p:nvPicPr>
        <p:blipFill>
          <a:blip r:embed="rId5"/>
          <a:srcRect/>
          <a:stretch>
            <a:fillRect/>
          </a:stretch>
        </p:blipFill>
        <p:spPr bwMode="auto">
          <a:xfrm>
            <a:off x="6393200" y="2564880"/>
            <a:ext cx="1381125" cy="2562225"/>
          </a:xfrm>
          <a:prstGeom prst="rect">
            <a:avLst/>
          </a:prstGeom>
          <a:noFill/>
          <a:ln w="9525">
            <a:noFill/>
            <a:miter lim="800000"/>
            <a:headEnd/>
            <a:tailEnd/>
          </a:ln>
        </p:spPr>
      </p:pic>
      <p:pic>
        <p:nvPicPr>
          <p:cNvPr id="197638" name="Picture 6"/>
          <p:cNvPicPr>
            <a:picLocks noChangeAspect="1" noChangeArrowheads="1"/>
          </p:cNvPicPr>
          <p:nvPr/>
        </p:nvPicPr>
        <p:blipFill>
          <a:blip r:embed="rId6"/>
          <a:srcRect/>
          <a:stretch>
            <a:fillRect/>
          </a:stretch>
        </p:blipFill>
        <p:spPr bwMode="auto">
          <a:xfrm>
            <a:off x="8049430" y="1484730"/>
            <a:ext cx="1504950" cy="2667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P </a:t>
            </a:r>
            <a:r>
              <a:rPr lang="en-US" dirty="0" err="1" smtClean="0"/>
              <a:t>coverages</a:t>
            </a:r>
            <a:endParaRPr lang="en-US" dirty="0"/>
          </a:p>
        </p:txBody>
      </p:sp>
      <p:graphicFrame>
        <p:nvGraphicFramePr>
          <p:cNvPr id="7" name="Content Placeholder 6"/>
          <p:cNvGraphicFramePr>
            <a:graphicFrameLocks noGrp="1"/>
          </p:cNvGraphicFramePr>
          <p:nvPr>
            <p:ph idx="1"/>
          </p:nvPr>
        </p:nvGraphicFramePr>
        <p:xfrm>
          <a:off x="273050" y="1501775"/>
          <a:ext cx="9359900" cy="2225040"/>
        </p:xfrm>
        <a:graphic>
          <a:graphicData uri="http://schemas.openxmlformats.org/drawingml/2006/table">
            <a:tbl>
              <a:tblPr firstRow="1" bandRow="1">
                <a:tableStyleId>{5C22544A-7EE6-4342-B048-85BDC9FD1C3A}</a:tableStyleId>
              </a:tblPr>
              <a:tblGrid>
                <a:gridCol w="4679950"/>
                <a:gridCol w="4679950"/>
              </a:tblGrid>
              <a:tr h="370840">
                <a:tc>
                  <a:txBody>
                    <a:bodyPr/>
                    <a:lstStyle/>
                    <a:p>
                      <a:r>
                        <a:rPr lang="en-US" dirty="0" smtClean="0"/>
                        <a:t>TP </a:t>
                      </a:r>
                      <a:endParaRPr lang="en-US" dirty="0"/>
                    </a:p>
                  </a:txBody>
                  <a:tcPr/>
                </a:tc>
                <a:tc>
                  <a:txBody>
                    <a:bodyPr/>
                    <a:lstStyle/>
                    <a:p>
                      <a:r>
                        <a:rPr lang="en-US" dirty="0" smtClean="0"/>
                        <a:t>Coverage</a:t>
                      </a:r>
                      <a:endParaRPr lang="en-US" dirty="0"/>
                    </a:p>
                  </a:txBody>
                  <a:tcPr/>
                </a:tc>
              </a:tr>
              <a:tr h="370840">
                <a:tc>
                  <a:txBody>
                    <a:bodyPr/>
                    <a:lstStyle/>
                    <a:p>
                      <a:r>
                        <a:rPr lang="en-US" dirty="0" smtClean="0"/>
                        <a:t>TP1</a:t>
                      </a:r>
                      <a:endParaRPr lang="en-US" dirty="0"/>
                    </a:p>
                  </a:txBody>
                  <a:tcPr/>
                </a:tc>
                <a:tc>
                  <a:txBody>
                    <a:bodyPr/>
                    <a:lstStyle/>
                    <a:p>
                      <a:r>
                        <a:rPr lang="en-US" dirty="0" smtClean="0"/>
                        <a:t>Quote, Proposal, Contract modifications</a:t>
                      </a:r>
                      <a:endParaRPr lang="en-US" dirty="0"/>
                    </a:p>
                  </a:txBody>
                  <a:tcPr/>
                </a:tc>
              </a:tr>
              <a:tr h="370840">
                <a:tc>
                  <a:txBody>
                    <a:bodyPr/>
                    <a:lstStyle/>
                    <a:p>
                      <a:r>
                        <a:rPr lang="en-US" dirty="0" smtClean="0"/>
                        <a:t>TP2</a:t>
                      </a:r>
                      <a:endParaRPr lang="en-US" dirty="0"/>
                    </a:p>
                  </a:txBody>
                  <a:tcPr/>
                </a:tc>
                <a:tc>
                  <a:txBody>
                    <a:bodyPr/>
                    <a:lstStyle/>
                    <a:p>
                      <a:r>
                        <a:rPr lang="en-US" baseline="0" dirty="0" smtClean="0"/>
                        <a:t>MPD, activation, termination, </a:t>
                      </a:r>
                      <a:r>
                        <a:rPr lang="en-US" dirty="0" smtClean="0"/>
                        <a:t>revenues</a:t>
                      </a:r>
                      <a:endParaRPr lang="en-US" dirty="0"/>
                    </a:p>
                  </a:txBody>
                  <a:tcPr/>
                </a:tc>
              </a:tr>
              <a:tr h="370840">
                <a:tc>
                  <a:txBody>
                    <a:bodyPr/>
                    <a:lstStyle/>
                    <a:p>
                      <a:r>
                        <a:rPr lang="en-US" dirty="0" smtClean="0"/>
                        <a:t>TP3</a:t>
                      </a:r>
                      <a:endParaRPr lang="en-US" dirty="0"/>
                    </a:p>
                  </a:txBody>
                  <a:tcPr/>
                </a:tc>
                <a:tc>
                  <a:txBody>
                    <a:bodyPr/>
                    <a:lstStyle/>
                    <a:p>
                      <a:r>
                        <a:rPr lang="en-US" dirty="0" smtClean="0"/>
                        <a:t>Costs</a:t>
                      </a:r>
                      <a:r>
                        <a:rPr lang="en-US" smtClean="0"/>
                        <a:t>, internationalization, DDE</a:t>
                      </a:r>
                      <a:endParaRPr lang="en-US" dirty="0"/>
                    </a:p>
                  </a:txBody>
                  <a:tcPr/>
                </a:tc>
              </a:tr>
              <a:tr h="370840">
                <a:tc>
                  <a:txBody>
                    <a:bodyPr/>
                    <a:lstStyle/>
                    <a:p>
                      <a:r>
                        <a:rPr lang="en-US" dirty="0" smtClean="0"/>
                        <a:t>TP4</a:t>
                      </a:r>
                      <a:endParaRPr lang="en-US" dirty="0"/>
                    </a:p>
                  </a:txBody>
                  <a:tcPr/>
                </a:tc>
                <a:tc>
                  <a:txBody>
                    <a:bodyPr/>
                    <a:lstStyle/>
                    <a:p>
                      <a:r>
                        <a:rPr lang="en-US" dirty="0" smtClean="0"/>
                        <a:t>CCC,</a:t>
                      </a:r>
                      <a:r>
                        <a:rPr lang="en-US" baseline="0" dirty="0" smtClean="0"/>
                        <a:t> Print, Search, Roles </a:t>
                      </a:r>
                      <a:r>
                        <a:rPr lang="en-US" baseline="0" smtClean="0"/>
                        <a:t>and Rights ..</a:t>
                      </a:r>
                      <a:endParaRPr lang="en-US" dirty="0"/>
                    </a:p>
                  </a:txBody>
                  <a:tcPr/>
                </a:tc>
              </a:tr>
              <a:tr h="370840">
                <a:tc>
                  <a:txBody>
                    <a:bodyPr/>
                    <a:lstStyle/>
                    <a:p>
                      <a:r>
                        <a:rPr lang="en-US" dirty="0" smtClean="0"/>
                        <a:t>TP6</a:t>
                      </a:r>
                      <a:endParaRPr lang="en-US" dirty="0"/>
                    </a:p>
                  </a:txBody>
                  <a:tcPr/>
                </a:tc>
                <a:tc>
                  <a:txBody>
                    <a:bodyPr/>
                    <a:lstStyle/>
                    <a:p>
                      <a:r>
                        <a:rPr lang="en-US" dirty="0" smtClean="0"/>
                        <a:t>Data maintenance</a:t>
                      </a:r>
                      <a:endParaRPr lang="en-US" dirty="0"/>
                    </a:p>
                  </a:txBody>
                  <a:tcPr/>
                </a:tc>
              </a:tr>
            </a:tbl>
          </a:graphicData>
        </a:graphic>
      </p:graphicFrame>
      <p:sp>
        <p:nvSpPr>
          <p:cNvPr id="4" name="Date Placeholder 3"/>
          <p:cNvSpPr>
            <a:spLocks noGrp="1"/>
          </p:cNvSpPr>
          <p:nvPr>
            <p:ph type="dt" sz="half" idx="10"/>
          </p:nvPr>
        </p:nvSpPr>
        <p:spPr/>
        <p:txBody>
          <a:bodyPr/>
          <a:lstStyle/>
          <a:p>
            <a:fld id="{E5D8C25F-7206-406D-A889-41171CBF515C}"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nvPr>
        </p:nvGraphicFramePr>
        <p:xfrm>
          <a:off x="273050" y="1501775"/>
          <a:ext cx="9359900" cy="46370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e Placeholder 3"/>
          <p:cNvSpPr>
            <a:spLocks noGrp="1"/>
          </p:cNvSpPr>
          <p:nvPr>
            <p:ph type="dt" sz="half" idx="10"/>
          </p:nvPr>
        </p:nvSpPr>
        <p:spPr/>
        <p:txBody>
          <a:bodyPr/>
          <a:lstStyle/>
          <a:p>
            <a:fld id="{8DF5B262-D22F-4BC0-8EF1-9DD9C1C82361}"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6</a:t>
            </a:fld>
            <a:endParaRPr lang="en-US"/>
          </a:p>
        </p:txBody>
      </p:sp>
      <p:sp>
        <p:nvSpPr>
          <p:cNvPr id="8" name="Title 1"/>
          <p:cNvSpPr>
            <a:spLocks noGrp="1"/>
          </p:cNvSpPr>
          <p:nvPr>
            <p:ph type="title"/>
          </p:nvPr>
        </p:nvSpPr>
        <p:spPr/>
        <p:txBody>
          <a:bodyPr/>
          <a:lstStyle/>
          <a:p>
            <a:r>
              <a:rPr lang="en-US" sz="2000" b="1" dirty="0" smtClean="0"/>
              <a:t>Business entities</a:t>
            </a:r>
            <a:endParaRPr lang="en-US" sz="2000" b="1"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Business use case</a:t>
            </a:r>
            <a:endParaRPr lang="en-US" sz="2000" b="1" dirty="0"/>
          </a:p>
        </p:txBody>
      </p:sp>
      <p:sp>
        <p:nvSpPr>
          <p:cNvPr id="4" name="Date Placeholder 3"/>
          <p:cNvSpPr>
            <a:spLocks noGrp="1"/>
          </p:cNvSpPr>
          <p:nvPr>
            <p:ph type="dt" sz="half" idx="10"/>
          </p:nvPr>
        </p:nvSpPr>
        <p:spPr/>
        <p:txBody>
          <a:bodyPr/>
          <a:lstStyle/>
          <a:p>
            <a:fld id="{26AC6F57-CB87-4904-AEEA-C993A186183C}"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7</a:t>
            </a:fld>
            <a:endParaRPr lang="en-US"/>
          </a:p>
        </p:txBody>
      </p:sp>
      <p:pic>
        <p:nvPicPr>
          <p:cNvPr id="168962" name="Picture 2"/>
          <p:cNvPicPr>
            <a:picLocks noGrp="1" noChangeAspect="1" noChangeArrowheads="1"/>
          </p:cNvPicPr>
          <p:nvPr>
            <p:ph idx="1"/>
          </p:nvPr>
        </p:nvPicPr>
        <p:blipFill>
          <a:blip r:embed="rId2"/>
          <a:srcRect/>
          <a:stretch>
            <a:fillRect/>
          </a:stretch>
        </p:blipFill>
        <p:spPr bwMode="auto">
          <a:xfrm>
            <a:off x="200340" y="1412720"/>
            <a:ext cx="9705660" cy="489668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Freeform 151"/>
          <p:cNvSpPr>
            <a:spLocks noChangeAspect="1" noEditPoints="1"/>
          </p:cNvSpPr>
          <p:nvPr/>
        </p:nvSpPr>
        <p:spPr bwMode="gray">
          <a:xfrm>
            <a:off x="2504660" y="2813127"/>
            <a:ext cx="1911350" cy="1624013"/>
          </a:xfrm>
          <a:custGeom>
            <a:avLst/>
            <a:gdLst>
              <a:gd name="T0" fmla="*/ 3347 w 3352"/>
              <a:gd name="T1" fmla="*/ 429 h 2623"/>
              <a:gd name="T2" fmla="*/ 3319 w 3352"/>
              <a:gd name="T3" fmla="*/ 487 h 2623"/>
              <a:gd name="T4" fmla="*/ 3345 w 3352"/>
              <a:gd name="T5" fmla="*/ 495 h 2623"/>
              <a:gd name="T6" fmla="*/ 3350 w 3352"/>
              <a:gd name="T7" fmla="*/ 446 h 2623"/>
              <a:gd name="T8" fmla="*/ 3246 w 3352"/>
              <a:gd name="T9" fmla="*/ 106 h 2623"/>
              <a:gd name="T10" fmla="*/ 3226 w 3352"/>
              <a:gd name="T11" fmla="*/ 87 h 2623"/>
              <a:gd name="T12" fmla="*/ 3201 w 3352"/>
              <a:gd name="T13" fmla="*/ 85 h 2623"/>
              <a:gd name="T14" fmla="*/ 3179 w 3352"/>
              <a:gd name="T15" fmla="*/ 77 h 2623"/>
              <a:gd name="T16" fmla="*/ 3145 w 3352"/>
              <a:gd name="T17" fmla="*/ 61 h 2623"/>
              <a:gd name="T18" fmla="*/ 3102 w 3352"/>
              <a:gd name="T19" fmla="*/ 37 h 2623"/>
              <a:gd name="T20" fmla="*/ 3073 w 3352"/>
              <a:gd name="T21" fmla="*/ 12 h 2623"/>
              <a:gd name="T22" fmla="*/ 3017 w 3352"/>
              <a:gd name="T23" fmla="*/ 12 h 2623"/>
              <a:gd name="T24" fmla="*/ 2988 w 3352"/>
              <a:gd name="T25" fmla="*/ 60 h 2623"/>
              <a:gd name="T26" fmla="*/ 2937 w 3352"/>
              <a:gd name="T27" fmla="*/ 97 h 2623"/>
              <a:gd name="T28" fmla="*/ 2882 w 3352"/>
              <a:gd name="T29" fmla="*/ 75 h 2623"/>
              <a:gd name="T30" fmla="*/ 2852 w 3352"/>
              <a:gd name="T31" fmla="*/ 125 h 2623"/>
              <a:gd name="T32" fmla="*/ 2797 w 3352"/>
              <a:gd name="T33" fmla="*/ 124 h 2623"/>
              <a:gd name="T34" fmla="*/ 2752 w 3352"/>
              <a:gd name="T35" fmla="*/ 161 h 2623"/>
              <a:gd name="T36" fmla="*/ 2816 w 3352"/>
              <a:gd name="T37" fmla="*/ 184 h 2623"/>
              <a:gd name="T38" fmla="*/ 2874 w 3352"/>
              <a:gd name="T39" fmla="*/ 199 h 2623"/>
              <a:gd name="T40" fmla="*/ 2899 w 3352"/>
              <a:gd name="T41" fmla="*/ 248 h 2623"/>
              <a:gd name="T42" fmla="*/ 2919 w 3352"/>
              <a:gd name="T43" fmla="*/ 320 h 2623"/>
              <a:gd name="T44" fmla="*/ 2878 w 3352"/>
              <a:gd name="T45" fmla="*/ 391 h 2623"/>
              <a:gd name="T46" fmla="*/ 2880 w 3352"/>
              <a:gd name="T47" fmla="*/ 414 h 2623"/>
              <a:gd name="T48" fmla="*/ 2914 w 3352"/>
              <a:gd name="T49" fmla="*/ 437 h 2623"/>
              <a:gd name="T50" fmla="*/ 2953 w 3352"/>
              <a:gd name="T51" fmla="*/ 441 h 2623"/>
              <a:gd name="T52" fmla="*/ 2975 w 3352"/>
              <a:gd name="T53" fmla="*/ 434 h 2623"/>
              <a:gd name="T54" fmla="*/ 2999 w 3352"/>
              <a:gd name="T55" fmla="*/ 446 h 2623"/>
              <a:gd name="T56" fmla="*/ 3019 w 3352"/>
              <a:gd name="T57" fmla="*/ 454 h 2623"/>
              <a:gd name="T58" fmla="*/ 3044 w 3352"/>
              <a:gd name="T59" fmla="*/ 463 h 2623"/>
              <a:gd name="T60" fmla="*/ 3065 w 3352"/>
              <a:gd name="T61" fmla="*/ 453 h 2623"/>
              <a:gd name="T62" fmla="*/ 3124 w 3352"/>
              <a:gd name="T63" fmla="*/ 397 h 2623"/>
              <a:gd name="T64" fmla="*/ 3184 w 3352"/>
              <a:gd name="T65" fmla="*/ 421 h 2623"/>
              <a:gd name="T66" fmla="*/ 3259 w 3352"/>
              <a:gd name="T67" fmla="*/ 388 h 2623"/>
              <a:gd name="T68" fmla="*/ 3252 w 3352"/>
              <a:gd name="T69" fmla="*/ 367 h 2623"/>
              <a:gd name="T70" fmla="*/ 3242 w 3352"/>
              <a:gd name="T71" fmla="*/ 335 h 2623"/>
              <a:gd name="T72" fmla="*/ 3224 w 3352"/>
              <a:gd name="T73" fmla="*/ 314 h 2623"/>
              <a:gd name="T74" fmla="*/ 3241 w 3352"/>
              <a:gd name="T75" fmla="*/ 289 h 2623"/>
              <a:gd name="T76" fmla="*/ 3236 w 3352"/>
              <a:gd name="T77" fmla="*/ 263 h 2623"/>
              <a:gd name="T78" fmla="*/ 3204 w 3352"/>
              <a:gd name="T79" fmla="*/ 259 h 2623"/>
              <a:gd name="T80" fmla="*/ 3220 w 3352"/>
              <a:gd name="T81" fmla="*/ 226 h 2623"/>
              <a:gd name="T82" fmla="*/ 3245 w 3352"/>
              <a:gd name="T83" fmla="*/ 198 h 2623"/>
              <a:gd name="T84" fmla="*/ 3268 w 3352"/>
              <a:gd name="T85" fmla="*/ 186 h 2623"/>
              <a:gd name="T86" fmla="*/ 3278 w 3352"/>
              <a:gd name="T87" fmla="*/ 128 h 2623"/>
              <a:gd name="T88" fmla="*/ 3284 w 3352"/>
              <a:gd name="T89" fmla="*/ 106 h 2623"/>
              <a:gd name="T90" fmla="*/ 392 w 3352"/>
              <a:gd name="T91" fmla="*/ 2439 h 2623"/>
              <a:gd name="T92" fmla="*/ 334 w 3352"/>
              <a:gd name="T93" fmla="*/ 2444 h 2623"/>
              <a:gd name="T94" fmla="*/ 334 w 3352"/>
              <a:gd name="T95" fmla="*/ 2544 h 2623"/>
              <a:gd name="T96" fmla="*/ 313 w 3352"/>
              <a:gd name="T97" fmla="*/ 2594 h 2623"/>
              <a:gd name="T98" fmla="*/ 340 w 3352"/>
              <a:gd name="T99" fmla="*/ 2611 h 2623"/>
              <a:gd name="T100" fmla="*/ 364 w 3352"/>
              <a:gd name="T101" fmla="*/ 2610 h 2623"/>
              <a:gd name="T102" fmla="*/ 410 w 3352"/>
              <a:gd name="T103" fmla="*/ 2570 h 2623"/>
              <a:gd name="T104" fmla="*/ 427 w 3352"/>
              <a:gd name="T105" fmla="*/ 2479 h 2623"/>
              <a:gd name="T106" fmla="*/ 11 w 3352"/>
              <a:gd name="T107" fmla="*/ 1875 h 2623"/>
              <a:gd name="T108" fmla="*/ 31 w 3352"/>
              <a:gd name="T109" fmla="*/ 1937 h 2623"/>
              <a:gd name="T110" fmla="*/ 37 w 3352"/>
              <a:gd name="T111" fmla="*/ 1965 h 2623"/>
              <a:gd name="T112" fmla="*/ 31 w 3352"/>
              <a:gd name="T113" fmla="*/ 1937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2" h="2623">
                <a:moveTo>
                  <a:pt x="3350" y="446"/>
                </a:moveTo>
                <a:cubicBezTo>
                  <a:pt x="3345" y="444"/>
                  <a:pt x="3345" y="444"/>
                  <a:pt x="3345" y="444"/>
                </a:cubicBezTo>
                <a:cubicBezTo>
                  <a:pt x="3345" y="444"/>
                  <a:pt x="3351" y="436"/>
                  <a:pt x="3347" y="429"/>
                </a:cubicBezTo>
                <a:cubicBezTo>
                  <a:pt x="3343" y="422"/>
                  <a:pt x="3335" y="440"/>
                  <a:pt x="3335" y="440"/>
                </a:cubicBezTo>
                <a:cubicBezTo>
                  <a:pt x="3335" y="440"/>
                  <a:pt x="3306" y="453"/>
                  <a:pt x="3309" y="467"/>
                </a:cubicBezTo>
                <a:cubicBezTo>
                  <a:pt x="3312" y="481"/>
                  <a:pt x="3319" y="487"/>
                  <a:pt x="3319" y="487"/>
                </a:cubicBezTo>
                <a:cubicBezTo>
                  <a:pt x="3319" y="487"/>
                  <a:pt x="3310" y="498"/>
                  <a:pt x="3318" y="505"/>
                </a:cubicBezTo>
                <a:cubicBezTo>
                  <a:pt x="3326" y="512"/>
                  <a:pt x="3335" y="513"/>
                  <a:pt x="3335" y="513"/>
                </a:cubicBezTo>
                <a:cubicBezTo>
                  <a:pt x="3335" y="513"/>
                  <a:pt x="3345" y="506"/>
                  <a:pt x="3345" y="495"/>
                </a:cubicBezTo>
                <a:cubicBezTo>
                  <a:pt x="3345" y="484"/>
                  <a:pt x="3344" y="481"/>
                  <a:pt x="3344" y="481"/>
                </a:cubicBezTo>
                <a:cubicBezTo>
                  <a:pt x="3352" y="477"/>
                  <a:pt x="3352" y="477"/>
                  <a:pt x="3352" y="477"/>
                </a:cubicBezTo>
                <a:lnTo>
                  <a:pt x="3350" y="446"/>
                </a:lnTo>
                <a:close/>
                <a:moveTo>
                  <a:pt x="3266" y="107"/>
                </a:moveTo>
                <a:cubicBezTo>
                  <a:pt x="3266" y="103"/>
                  <a:pt x="3266" y="103"/>
                  <a:pt x="3266" y="103"/>
                </a:cubicBezTo>
                <a:cubicBezTo>
                  <a:pt x="3266" y="103"/>
                  <a:pt x="3252" y="107"/>
                  <a:pt x="3246" y="106"/>
                </a:cubicBezTo>
                <a:cubicBezTo>
                  <a:pt x="3240" y="105"/>
                  <a:pt x="3242" y="100"/>
                  <a:pt x="3242" y="100"/>
                </a:cubicBezTo>
                <a:cubicBezTo>
                  <a:pt x="3225" y="100"/>
                  <a:pt x="3225" y="100"/>
                  <a:pt x="3225" y="100"/>
                </a:cubicBezTo>
                <a:cubicBezTo>
                  <a:pt x="3225" y="100"/>
                  <a:pt x="3229" y="90"/>
                  <a:pt x="3226" y="87"/>
                </a:cubicBezTo>
                <a:cubicBezTo>
                  <a:pt x="3223" y="84"/>
                  <a:pt x="3221" y="80"/>
                  <a:pt x="3221" y="80"/>
                </a:cubicBezTo>
                <a:cubicBezTo>
                  <a:pt x="3210" y="78"/>
                  <a:pt x="3210" y="78"/>
                  <a:pt x="3210" y="78"/>
                </a:cubicBezTo>
                <a:cubicBezTo>
                  <a:pt x="3201" y="85"/>
                  <a:pt x="3201" y="85"/>
                  <a:pt x="3201" y="85"/>
                </a:cubicBezTo>
                <a:cubicBezTo>
                  <a:pt x="3196" y="81"/>
                  <a:pt x="3196" y="81"/>
                  <a:pt x="3196" y="81"/>
                </a:cubicBezTo>
                <a:cubicBezTo>
                  <a:pt x="3182" y="81"/>
                  <a:pt x="3182" y="81"/>
                  <a:pt x="3182" y="81"/>
                </a:cubicBezTo>
                <a:cubicBezTo>
                  <a:pt x="3182" y="81"/>
                  <a:pt x="3181" y="80"/>
                  <a:pt x="3179" y="77"/>
                </a:cubicBezTo>
                <a:cubicBezTo>
                  <a:pt x="3177" y="74"/>
                  <a:pt x="3155" y="70"/>
                  <a:pt x="3155" y="70"/>
                </a:cubicBezTo>
                <a:cubicBezTo>
                  <a:pt x="3155" y="54"/>
                  <a:pt x="3155" y="54"/>
                  <a:pt x="3155" y="54"/>
                </a:cubicBezTo>
                <a:cubicBezTo>
                  <a:pt x="3145" y="61"/>
                  <a:pt x="3145" y="61"/>
                  <a:pt x="3145" y="61"/>
                </a:cubicBezTo>
                <a:cubicBezTo>
                  <a:pt x="3130" y="61"/>
                  <a:pt x="3130" y="61"/>
                  <a:pt x="3130" y="61"/>
                </a:cubicBezTo>
                <a:cubicBezTo>
                  <a:pt x="3130" y="61"/>
                  <a:pt x="3130" y="45"/>
                  <a:pt x="3125" y="42"/>
                </a:cubicBezTo>
                <a:cubicBezTo>
                  <a:pt x="3120" y="39"/>
                  <a:pt x="3102" y="37"/>
                  <a:pt x="3102" y="37"/>
                </a:cubicBezTo>
                <a:cubicBezTo>
                  <a:pt x="3095" y="30"/>
                  <a:pt x="3095" y="30"/>
                  <a:pt x="3095" y="30"/>
                </a:cubicBezTo>
                <a:cubicBezTo>
                  <a:pt x="3079" y="26"/>
                  <a:pt x="3079" y="26"/>
                  <a:pt x="3079" y="26"/>
                </a:cubicBezTo>
                <a:cubicBezTo>
                  <a:pt x="3073" y="12"/>
                  <a:pt x="3073" y="12"/>
                  <a:pt x="3073" y="12"/>
                </a:cubicBezTo>
                <a:cubicBezTo>
                  <a:pt x="3074" y="3"/>
                  <a:pt x="3074" y="3"/>
                  <a:pt x="3074" y="3"/>
                </a:cubicBezTo>
                <a:cubicBezTo>
                  <a:pt x="3074" y="3"/>
                  <a:pt x="3058" y="0"/>
                  <a:pt x="3048" y="4"/>
                </a:cubicBezTo>
                <a:cubicBezTo>
                  <a:pt x="3038" y="8"/>
                  <a:pt x="3013" y="4"/>
                  <a:pt x="3017" y="12"/>
                </a:cubicBezTo>
                <a:cubicBezTo>
                  <a:pt x="3021" y="20"/>
                  <a:pt x="3024" y="27"/>
                  <a:pt x="3024" y="27"/>
                </a:cubicBezTo>
                <a:cubicBezTo>
                  <a:pt x="3024" y="27"/>
                  <a:pt x="3032" y="44"/>
                  <a:pt x="3021" y="52"/>
                </a:cubicBezTo>
                <a:cubicBezTo>
                  <a:pt x="3010" y="60"/>
                  <a:pt x="2988" y="60"/>
                  <a:pt x="2988" y="60"/>
                </a:cubicBezTo>
                <a:cubicBezTo>
                  <a:pt x="2963" y="80"/>
                  <a:pt x="2963" y="80"/>
                  <a:pt x="2963" y="80"/>
                </a:cubicBezTo>
                <a:cubicBezTo>
                  <a:pt x="2972" y="86"/>
                  <a:pt x="2972" y="86"/>
                  <a:pt x="2972" y="86"/>
                </a:cubicBezTo>
                <a:cubicBezTo>
                  <a:pt x="2972" y="86"/>
                  <a:pt x="2952" y="98"/>
                  <a:pt x="2937" y="97"/>
                </a:cubicBezTo>
                <a:cubicBezTo>
                  <a:pt x="2922" y="96"/>
                  <a:pt x="2913" y="91"/>
                  <a:pt x="2913" y="91"/>
                </a:cubicBezTo>
                <a:cubicBezTo>
                  <a:pt x="2902" y="76"/>
                  <a:pt x="2902" y="76"/>
                  <a:pt x="2902" y="76"/>
                </a:cubicBezTo>
                <a:cubicBezTo>
                  <a:pt x="2902" y="76"/>
                  <a:pt x="2881" y="68"/>
                  <a:pt x="2882" y="75"/>
                </a:cubicBezTo>
                <a:cubicBezTo>
                  <a:pt x="2883" y="82"/>
                  <a:pt x="2894" y="96"/>
                  <a:pt x="2894" y="96"/>
                </a:cubicBezTo>
                <a:cubicBezTo>
                  <a:pt x="2894" y="96"/>
                  <a:pt x="2907" y="120"/>
                  <a:pt x="2889" y="123"/>
                </a:cubicBezTo>
                <a:cubicBezTo>
                  <a:pt x="2871" y="126"/>
                  <a:pt x="2852" y="125"/>
                  <a:pt x="2852" y="125"/>
                </a:cubicBezTo>
                <a:cubicBezTo>
                  <a:pt x="2845" y="136"/>
                  <a:pt x="2845" y="136"/>
                  <a:pt x="2845" y="136"/>
                </a:cubicBezTo>
                <a:cubicBezTo>
                  <a:pt x="2845" y="136"/>
                  <a:pt x="2829" y="116"/>
                  <a:pt x="2823" y="117"/>
                </a:cubicBezTo>
                <a:cubicBezTo>
                  <a:pt x="2817" y="118"/>
                  <a:pt x="2797" y="124"/>
                  <a:pt x="2797" y="124"/>
                </a:cubicBezTo>
                <a:cubicBezTo>
                  <a:pt x="2797" y="124"/>
                  <a:pt x="2761" y="129"/>
                  <a:pt x="2758" y="136"/>
                </a:cubicBezTo>
                <a:cubicBezTo>
                  <a:pt x="2755" y="143"/>
                  <a:pt x="2777" y="149"/>
                  <a:pt x="2776" y="152"/>
                </a:cubicBezTo>
                <a:cubicBezTo>
                  <a:pt x="2775" y="155"/>
                  <a:pt x="2746" y="153"/>
                  <a:pt x="2752" y="161"/>
                </a:cubicBezTo>
                <a:cubicBezTo>
                  <a:pt x="2758" y="169"/>
                  <a:pt x="2777" y="170"/>
                  <a:pt x="2777" y="170"/>
                </a:cubicBezTo>
                <a:cubicBezTo>
                  <a:pt x="2784" y="166"/>
                  <a:pt x="2784" y="166"/>
                  <a:pt x="2784" y="166"/>
                </a:cubicBezTo>
                <a:cubicBezTo>
                  <a:pt x="2816" y="184"/>
                  <a:pt x="2816" y="184"/>
                  <a:pt x="2816" y="184"/>
                </a:cubicBezTo>
                <a:cubicBezTo>
                  <a:pt x="2836" y="184"/>
                  <a:pt x="2836" y="184"/>
                  <a:pt x="2836" y="184"/>
                </a:cubicBezTo>
                <a:cubicBezTo>
                  <a:pt x="2848" y="196"/>
                  <a:pt x="2848" y="196"/>
                  <a:pt x="2848" y="196"/>
                </a:cubicBezTo>
                <a:cubicBezTo>
                  <a:pt x="2874" y="199"/>
                  <a:pt x="2874" y="199"/>
                  <a:pt x="2874" y="199"/>
                </a:cubicBezTo>
                <a:cubicBezTo>
                  <a:pt x="2855" y="209"/>
                  <a:pt x="2855" y="209"/>
                  <a:pt x="2855" y="209"/>
                </a:cubicBezTo>
                <a:cubicBezTo>
                  <a:pt x="2855" y="209"/>
                  <a:pt x="2874" y="240"/>
                  <a:pt x="2878" y="244"/>
                </a:cubicBezTo>
                <a:cubicBezTo>
                  <a:pt x="2882" y="248"/>
                  <a:pt x="2899" y="248"/>
                  <a:pt x="2899" y="248"/>
                </a:cubicBezTo>
                <a:cubicBezTo>
                  <a:pt x="2897" y="277"/>
                  <a:pt x="2897" y="277"/>
                  <a:pt x="2897" y="277"/>
                </a:cubicBezTo>
                <a:cubicBezTo>
                  <a:pt x="2910" y="297"/>
                  <a:pt x="2910" y="297"/>
                  <a:pt x="2910" y="297"/>
                </a:cubicBezTo>
                <a:cubicBezTo>
                  <a:pt x="2919" y="320"/>
                  <a:pt x="2919" y="320"/>
                  <a:pt x="2919" y="320"/>
                </a:cubicBezTo>
                <a:cubicBezTo>
                  <a:pt x="2898" y="294"/>
                  <a:pt x="2898" y="294"/>
                  <a:pt x="2898" y="294"/>
                </a:cubicBezTo>
                <a:cubicBezTo>
                  <a:pt x="2898" y="294"/>
                  <a:pt x="2896" y="323"/>
                  <a:pt x="2895" y="333"/>
                </a:cubicBezTo>
                <a:cubicBezTo>
                  <a:pt x="2894" y="343"/>
                  <a:pt x="2883" y="383"/>
                  <a:pt x="2878" y="391"/>
                </a:cubicBezTo>
                <a:cubicBezTo>
                  <a:pt x="2874" y="398"/>
                  <a:pt x="2876" y="407"/>
                  <a:pt x="2864" y="409"/>
                </a:cubicBezTo>
                <a:cubicBezTo>
                  <a:pt x="2865" y="415"/>
                  <a:pt x="2865" y="415"/>
                  <a:pt x="2865" y="415"/>
                </a:cubicBezTo>
                <a:cubicBezTo>
                  <a:pt x="2865" y="415"/>
                  <a:pt x="2874" y="407"/>
                  <a:pt x="2880" y="414"/>
                </a:cubicBezTo>
                <a:cubicBezTo>
                  <a:pt x="2886" y="421"/>
                  <a:pt x="2880" y="424"/>
                  <a:pt x="2880" y="424"/>
                </a:cubicBezTo>
                <a:cubicBezTo>
                  <a:pt x="2880" y="424"/>
                  <a:pt x="2894" y="426"/>
                  <a:pt x="2901" y="427"/>
                </a:cubicBezTo>
                <a:cubicBezTo>
                  <a:pt x="2908" y="428"/>
                  <a:pt x="2914" y="437"/>
                  <a:pt x="2914" y="437"/>
                </a:cubicBezTo>
                <a:cubicBezTo>
                  <a:pt x="2914" y="437"/>
                  <a:pt x="2924" y="433"/>
                  <a:pt x="2928" y="435"/>
                </a:cubicBezTo>
                <a:cubicBezTo>
                  <a:pt x="2932" y="437"/>
                  <a:pt x="2933" y="440"/>
                  <a:pt x="2933" y="440"/>
                </a:cubicBezTo>
                <a:cubicBezTo>
                  <a:pt x="2953" y="441"/>
                  <a:pt x="2953" y="441"/>
                  <a:pt x="2953" y="441"/>
                </a:cubicBezTo>
                <a:cubicBezTo>
                  <a:pt x="2955" y="449"/>
                  <a:pt x="2955" y="449"/>
                  <a:pt x="2955" y="449"/>
                </a:cubicBezTo>
                <a:cubicBezTo>
                  <a:pt x="2968" y="446"/>
                  <a:pt x="2968" y="446"/>
                  <a:pt x="2968" y="446"/>
                </a:cubicBezTo>
                <a:cubicBezTo>
                  <a:pt x="2968" y="446"/>
                  <a:pt x="2962" y="434"/>
                  <a:pt x="2975" y="434"/>
                </a:cubicBezTo>
                <a:cubicBezTo>
                  <a:pt x="2988" y="434"/>
                  <a:pt x="2988" y="441"/>
                  <a:pt x="2988" y="441"/>
                </a:cubicBezTo>
                <a:cubicBezTo>
                  <a:pt x="2997" y="442"/>
                  <a:pt x="2997" y="442"/>
                  <a:pt x="2997" y="442"/>
                </a:cubicBezTo>
                <a:cubicBezTo>
                  <a:pt x="2999" y="446"/>
                  <a:pt x="2999" y="446"/>
                  <a:pt x="2999" y="446"/>
                </a:cubicBezTo>
                <a:cubicBezTo>
                  <a:pt x="3000" y="445"/>
                  <a:pt x="3002" y="445"/>
                  <a:pt x="3004" y="445"/>
                </a:cubicBezTo>
                <a:cubicBezTo>
                  <a:pt x="3014" y="444"/>
                  <a:pt x="3018" y="445"/>
                  <a:pt x="3018" y="445"/>
                </a:cubicBezTo>
                <a:cubicBezTo>
                  <a:pt x="3019" y="454"/>
                  <a:pt x="3019" y="454"/>
                  <a:pt x="3019" y="454"/>
                </a:cubicBezTo>
                <a:cubicBezTo>
                  <a:pt x="3022" y="455"/>
                  <a:pt x="3024" y="459"/>
                  <a:pt x="3024" y="459"/>
                </a:cubicBezTo>
                <a:cubicBezTo>
                  <a:pt x="3024" y="459"/>
                  <a:pt x="3031" y="457"/>
                  <a:pt x="3034" y="456"/>
                </a:cubicBezTo>
                <a:cubicBezTo>
                  <a:pt x="3037" y="455"/>
                  <a:pt x="3044" y="463"/>
                  <a:pt x="3044" y="463"/>
                </a:cubicBezTo>
                <a:cubicBezTo>
                  <a:pt x="3044" y="463"/>
                  <a:pt x="3045" y="463"/>
                  <a:pt x="3052" y="463"/>
                </a:cubicBezTo>
                <a:cubicBezTo>
                  <a:pt x="3059" y="463"/>
                  <a:pt x="3059" y="453"/>
                  <a:pt x="3059" y="453"/>
                </a:cubicBezTo>
                <a:cubicBezTo>
                  <a:pt x="3065" y="453"/>
                  <a:pt x="3065" y="453"/>
                  <a:pt x="3065" y="453"/>
                </a:cubicBezTo>
                <a:cubicBezTo>
                  <a:pt x="3065" y="452"/>
                  <a:pt x="3065" y="451"/>
                  <a:pt x="3065" y="450"/>
                </a:cubicBezTo>
                <a:cubicBezTo>
                  <a:pt x="3065" y="440"/>
                  <a:pt x="3080" y="417"/>
                  <a:pt x="3087" y="413"/>
                </a:cubicBezTo>
                <a:cubicBezTo>
                  <a:pt x="3094" y="409"/>
                  <a:pt x="3115" y="392"/>
                  <a:pt x="3124" y="397"/>
                </a:cubicBezTo>
                <a:cubicBezTo>
                  <a:pt x="3133" y="402"/>
                  <a:pt x="3141" y="407"/>
                  <a:pt x="3141" y="407"/>
                </a:cubicBezTo>
                <a:cubicBezTo>
                  <a:pt x="3141" y="407"/>
                  <a:pt x="3164" y="401"/>
                  <a:pt x="3169" y="406"/>
                </a:cubicBezTo>
                <a:cubicBezTo>
                  <a:pt x="3174" y="411"/>
                  <a:pt x="3181" y="419"/>
                  <a:pt x="3184" y="421"/>
                </a:cubicBezTo>
                <a:cubicBezTo>
                  <a:pt x="3184" y="421"/>
                  <a:pt x="3209" y="431"/>
                  <a:pt x="3222" y="421"/>
                </a:cubicBezTo>
                <a:cubicBezTo>
                  <a:pt x="3235" y="411"/>
                  <a:pt x="3239" y="392"/>
                  <a:pt x="3245" y="390"/>
                </a:cubicBezTo>
                <a:cubicBezTo>
                  <a:pt x="3247" y="389"/>
                  <a:pt x="3253" y="389"/>
                  <a:pt x="3259" y="388"/>
                </a:cubicBezTo>
                <a:cubicBezTo>
                  <a:pt x="3259" y="385"/>
                  <a:pt x="3260" y="383"/>
                  <a:pt x="3262" y="383"/>
                </a:cubicBezTo>
                <a:cubicBezTo>
                  <a:pt x="3266" y="383"/>
                  <a:pt x="3272" y="373"/>
                  <a:pt x="3269" y="369"/>
                </a:cubicBezTo>
                <a:cubicBezTo>
                  <a:pt x="3266" y="365"/>
                  <a:pt x="3252" y="367"/>
                  <a:pt x="3252" y="367"/>
                </a:cubicBezTo>
                <a:cubicBezTo>
                  <a:pt x="3249" y="361"/>
                  <a:pt x="3249" y="361"/>
                  <a:pt x="3249" y="361"/>
                </a:cubicBezTo>
                <a:cubicBezTo>
                  <a:pt x="3249" y="361"/>
                  <a:pt x="3235" y="360"/>
                  <a:pt x="3236" y="350"/>
                </a:cubicBezTo>
                <a:cubicBezTo>
                  <a:pt x="3237" y="340"/>
                  <a:pt x="3243" y="340"/>
                  <a:pt x="3242" y="335"/>
                </a:cubicBezTo>
                <a:cubicBezTo>
                  <a:pt x="3241" y="330"/>
                  <a:pt x="3237" y="327"/>
                  <a:pt x="3237" y="327"/>
                </a:cubicBezTo>
                <a:cubicBezTo>
                  <a:pt x="3230" y="327"/>
                  <a:pt x="3230" y="327"/>
                  <a:pt x="3230" y="327"/>
                </a:cubicBezTo>
                <a:cubicBezTo>
                  <a:pt x="3224" y="314"/>
                  <a:pt x="3224" y="314"/>
                  <a:pt x="3224" y="314"/>
                </a:cubicBezTo>
                <a:cubicBezTo>
                  <a:pt x="3233" y="312"/>
                  <a:pt x="3233" y="312"/>
                  <a:pt x="3233" y="312"/>
                </a:cubicBezTo>
                <a:cubicBezTo>
                  <a:pt x="3233" y="312"/>
                  <a:pt x="3252" y="311"/>
                  <a:pt x="3252" y="302"/>
                </a:cubicBezTo>
                <a:cubicBezTo>
                  <a:pt x="3252" y="293"/>
                  <a:pt x="3241" y="289"/>
                  <a:pt x="3241" y="289"/>
                </a:cubicBezTo>
                <a:cubicBezTo>
                  <a:pt x="3233" y="281"/>
                  <a:pt x="3233" y="281"/>
                  <a:pt x="3233" y="281"/>
                </a:cubicBezTo>
                <a:cubicBezTo>
                  <a:pt x="3233" y="281"/>
                  <a:pt x="3243" y="277"/>
                  <a:pt x="3243" y="273"/>
                </a:cubicBezTo>
                <a:cubicBezTo>
                  <a:pt x="3243" y="269"/>
                  <a:pt x="3236" y="263"/>
                  <a:pt x="3236" y="263"/>
                </a:cubicBezTo>
                <a:cubicBezTo>
                  <a:pt x="3237" y="245"/>
                  <a:pt x="3237" y="245"/>
                  <a:pt x="3237" y="245"/>
                </a:cubicBezTo>
                <a:cubicBezTo>
                  <a:pt x="3237" y="245"/>
                  <a:pt x="3229" y="239"/>
                  <a:pt x="3222" y="243"/>
                </a:cubicBezTo>
                <a:cubicBezTo>
                  <a:pt x="3215" y="247"/>
                  <a:pt x="3210" y="260"/>
                  <a:pt x="3204" y="259"/>
                </a:cubicBezTo>
                <a:cubicBezTo>
                  <a:pt x="3198" y="258"/>
                  <a:pt x="3208" y="250"/>
                  <a:pt x="3208" y="250"/>
                </a:cubicBezTo>
                <a:cubicBezTo>
                  <a:pt x="3202" y="242"/>
                  <a:pt x="3202" y="242"/>
                  <a:pt x="3202" y="242"/>
                </a:cubicBezTo>
                <a:cubicBezTo>
                  <a:pt x="3202" y="242"/>
                  <a:pt x="3214" y="233"/>
                  <a:pt x="3220" y="226"/>
                </a:cubicBezTo>
                <a:cubicBezTo>
                  <a:pt x="3226" y="219"/>
                  <a:pt x="3223" y="213"/>
                  <a:pt x="3223" y="213"/>
                </a:cubicBezTo>
                <a:cubicBezTo>
                  <a:pt x="3223" y="213"/>
                  <a:pt x="3229" y="219"/>
                  <a:pt x="3234" y="213"/>
                </a:cubicBezTo>
                <a:cubicBezTo>
                  <a:pt x="3239" y="207"/>
                  <a:pt x="3245" y="198"/>
                  <a:pt x="3245" y="198"/>
                </a:cubicBezTo>
                <a:cubicBezTo>
                  <a:pt x="3250" y="189"/>
                  <a:pt x="3250" y="189"/>
                  <a:pt x="3250" y="189"/>
                </a:cubicBezTo>
                <a:cubicBezTo>
                  <a:pt x="3263" y="196"/>
                  <a:pt x="3263" y="196"/>
                  <a:pt x="3263" y="196"/>
                </a:cubicBezTo>
                <a:cubicBezTo>
                  <a:pt x="3268" y="186"/>
                  <a:pt x="3268" y="186"/>
                  <a:pt x="3268" y="186"/>
                </a:cubicBezTo>
                <a:cubicBezTo>
                  <a:pt x="3268" y="186"/>
                  <a:pt x="3264" y="177"/>
                  <a:pt x="3266" y="166"/>
                </a:cubicBezTo>
                <a:cubicBezTo>
                  <a:pt x="3268" y="155"/>
                  <a:pt x="3278" y="136"/>
                  <a:pt x="3278" y="136"/>
                </a:cubicBezTo>
                <a:cubicBezTo>
                  <a:pt x="3278" y="128"/>
                  <a:pt x="3278" y="128"/>
                  <a:pt x="3278" y="128"/>
                </a:cubicBezTo>
                <a:cubicBezTo>
                  <a:pt x="3292" y="117"/>
                  <a:pt x="3292" y="117"/>
                  <a:pt x="3292" y="117"/>
                </a:cubicBezTo>
                <a:cubicBezTo>
                  <a:pt x="3294" y="111"/>
                  <a:pt x="3294" y="111"/>
                  <a:pt x="3294" y="111"/>
                </a:cubicBezTo>
                <a:cubicBezTo>
                  <a:pt x="3284" y="106"/>
                  <a:pt x="3284" y="106"/>
                  <a:pt x="3284" y="106"/>
                </a:cubicBezTo>
                <a:lnTo>
                  <a:pt x="3266" y="107"/>
                </a:lnTo>
                <a:close/>
                <a:moveTo>
                  <a:pt x="408" y="2472"/>
                </a:moveTo>
                <a:cubicBezTo>
                  <a:pt x="392" y="2439"/>
                  <a:pt x="392" y="2439"/>
                  <a:pt x="392" y="2439"/>
                </a:cubicBezTo>
                <a:cubicBezTo>
                  <a:pt x="369" y="2439"/>
                  <a:pt x="369" y="2439"/>
                  <a:pt x="369" y="2439"/>
                </a:cubicBezTo>
                <a:cubicBezTo>
                  <a:pt x="369" y="2439"/>
                  <a:pt x="346" y="2431"/>
                  <a:pt x="338" y="2423"/>
                </a:cubicBezTo>
                <a:cubicBezTo>
                  <a:pt x="334" y="2430"/>
                  <a:pt x="334" y="2439"/>
                  <a:pt x="334" y="2444"/>
                </a:cubicBezTo>
                <a:cubicBezTo>
                  <a:pt x="334" y="2451"/>
                  <a:pt x="323" y="2450"/>
                  <a:pt x="312" y="2467"/>
                </a:cubicBezTo>
                <a:cubicBezTo>
                  <a:pt x="302" y="2483"/>
                  <a:pt x="312" y="2504"/>
                  <a:pt x="313" y="2517"/>
                </a:cubicBezTo>
                <a:cubicBezTo>
                  <a:pt x="314" y="2529"/>
                  <a:pt x="333" y="2534"/>
                  <a:pt x="334" y="2544"/>
                </a:cubicBezTo>
                <a:cubicBezTo>
                  <a:pt x="335" y="2554"/>
                  <a:pt x="323" y="2559"/>
                  <a:pt x="323" y="2559"/>
                </a:cubicBezTo>
                <a:cubicBezTo>
                  <a:pt x="325" y="2587"/>
                  <a:pt x="325" y="2587"/>
                  <a:pt x="325" y="2587"/>
                </a:cubicBezTo>
                <a:cubicBezTo>
                  <a:pt x="325" y="2587"/>
                  <a:pt x="314" y="2591"/>
                  <a:pt x="313" y="2594"/>
                </a:cubicBezTo>
                <a:cubicBezTo>
                  <a:pt x="312" y="2597"/>
                  <a:pt x="306" y="2611"/>
                  <a:pt x="306" y="2611"/>
                </a:cubicBezTo>
                <a:cubicBezTo>
                  <a:pt x="306" y="2611"/>
                  <a:pt x="308" y="2621"/>
                  <a:pt x="322" y="2622"/>
                </a:cubicBezTo>
                <a:cubicBezTo>
                  <a:pt x="336" y="2623"/>
                  <a:pt x="334" y="2617"/>
                  <a:pt x="340" y="2611"/>
                </a:cubicBezTo>
                <a:cubicBezTo>
                  <a:pt x="346" y="2605"/>
                  <a:pt x="350" y="2613"/>
                  <a:pt x="350" y="2613"/>
                </a:cubicBezTo>
                <a:cubicBezTo>
                  <a:pt x="360" y="2615"/>
                  <a:pt x="360" y="2615"/>
                  <a:pt x="360" y="2615"/>
                </a:cubicBezTo>
                <a:cubicBezTo>
                  <a:pt x="364" y="2610"/>
                  <a:pt x="364" y="2610"/>
                  <a:pt x="364" y="2610"/>
                </a:cubicBezTo>
                <a:cubicBezTo>
                  <a:pt x="364" y="2610"/>
                  <a:pt x="368" y="2618"/>
                  <a:pt x="368" y="2619"/>
                </a:cubicBezTo>
                <a:cubicBezTo>
                  <a:pt x="374" y="2619"/>
                  <a:pt x="389" y="2613"/>
                  <a:pt x="389" y="2613"/>
                </a:cubicBezTo>
                <a:cubicBezTo>
                  <a:pt x="406" y="2599"/>
                  <a:pt x="407" y="2580"/>
                  <a:pt x="410" y="2570"/>
                </a:cubicBezTo>
                <a:cubicBezTo>
                  <a:pt x="413" y="2560"/>
                  <a:pt x="422" y="2545"/>
                  <a:pt x="429" y="2539"/>
                </a:cubicBezTo>
                <a:cubicBezTo>
                  <a:pt x="436" y="2533"/>
                  <a:pt x="441" y="2516"/>
                  <a:pt x="441" y="2516"/>
                </a:cubicBezTo>
                <a:cubicBezTo>
                  <a:pt x="439" y="2511"/>
                  <a:pt x="427" y="2479"/>
                  <a:pt x="427" y="2479"/>
                </a:cubicBezTo>
                <a:lnTo>
                  <a:pt x="408" y="2472"/>
                </a:lnTo>
                <a:close/>
                <a:moveTo>
                  <a:pt x="0" y="1864"/>
                </a:moveTo>
                <a:cubicBezTo>
                  <a:pt x="0" y="1878"/>
                  <a:pt x="11" y="1875"/>
                  <a:pt x="11" y="1875"/>
                </a:cubicBezTo>
                <a:cubicBezTo>
                  <a:pt x="15" y="1867"/>
                  <a:pt x="15" y="1867"/>
                  <a:pt x="15" y="1867"/>
                </a:cubicBezTo>
                <a:cubicBezTo>
                  <a:pt x="15" y="1867"/>
                  <a:pt x="0" y="1851"/>
                  <a:pt x="0" y="1864"/>
                </a:cubicBezTo>
                <a:close/>
                <a:moveTo>
                  <a:pt x="31" y="1937"/>
                </a:moveTo>
                <a:cubicBezTo>
                  <a:pt x="20" y="1936"/>
                  <a:pt x="20" y="1936"/>
                  <a:pt x="20" y="1936"/>
                </a:cubicBezTo>
                <a:cubicBezTo>
                  <a:pt x="27" y="1956"/>
                  <a:pt x="27" y="1956"/>
                  <a:pt x="27" y="1956"/>
                </a:cubicBezTo>
                <a:cubicBezTo>
                  <a:pt x="37" y="1965"/>
                  <a:pt x="37" y="1965"/>
                  <a:pt x="37" y="1965"/>
                </a:cubicBezTo>
                <a:cubicBezTo>
                  <a:pt x="40" y="1953"/>
                  <a:pt x="40" y="1953"/>
                  <a:pt x="40" y="1953"/>
                </a:cubicBezTo>
                <a:cubicBezTo>
                  <a:pt x="34" y="1949"/>
                  <a:pt x="34" y="1949"/>
                  <a:pt x="34" y="1949"/>
                </a:cubicBezTo>
                <a:lnTo>
                  <a:pt x="31" y="1937"/>
                </a:lnTo>
                <a:close/>
              </a:path>
            </a:pathLst>
          </a:custGeom>
          <a:solidFill>
            <a:srgbClr val="00B050"/>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 name="Date Placeholder 3"/>
          <p:cNvSpPr>
            <a:spLocks noGrp="1"/>
          </p:cNvSpPr>
          <p:nvPr>
            <p:ph type="dt" sz="half" idx="10"/>
          </p:nvPr>
        </p:nvSpPr>
        <p:spPr/>
        <p:txBody>
          <a:bodyPr/>
          <a:lstStyle/>
          <a:p>
            <a:fld id="{465040E6-1C45-48B0-96C5-AD5C92E590D7}"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ln>
            <a:noFill/>
          </a:ln>
        </p:spPr>
        <p:txBody>
          <a:bodyPr/>
          <a:lstStyle/>
          <a:p>
            <a:fld id="{F9B0DA3F-1170-4793-871F-540ADC894E9D}" type="slidenum">
              <a:rPr lang="en-US" smtClean="0"/>
              <a:pPr/>
              <a:t>8</a:t>
            </a:fld>
            <a:endParaRPr lang="en-US"/>
          </a:p>
        </p:txBody>
      </p:sp>
      <p:sp>
        <p:nvSpPr>
          <p:cNvPr id="7" name="Foliennummernplatzhalter 5"/>
          <p:cNvSpPr txBox="1">
            <a:spLocks/>
          </p:cNvSpPr>
          <p:nvPr/>
        </p:nvSpPr>
        <p:spPr>
          <a:xfrm>
            <a:off x="85725" y="6548438"/>
            <a:ext cx="252413" cy="306387"/>
          </a:xfrm>
          <a:prstGeom prst="rect">
            <a:avLst/>
          </a:prstGeom>
          <a:noFill/>
        </p:spPr>
        <p:txBody>
          <a:bodyPr wrap="none" lIns="0" tIns="0" rIns="0" bIns="0" rtlCol="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57756" rtl="0" eaLnBrk="1" fontAlgn="auto" latinLnBrk="0" hangingPunct="1">
              <a:lnSpc>
                <a:spcPct val="100000"/>
              </a:lnSpc>
              <a:spcBef>
                <a:spcPts val="0"/>
              </a:spcBef>
              <a:spcAft>
                <a:spcPts val="0"/>
              </a:spcAft>
              <a:buClrTx/>
              <a:buSzTx/>
              <a:buFontTx/>
              <a:buNone/>
              <a:tabLst/>
              <a:defRPr/>
            </a:pPr>
            <a:fld id="{7227F0D3-76AC-4A77-8D18-28BC51561EE5}" type="slidenum">
              <a:rPr kumimoji="0" lang="de-DE" altLang="en-US" sz="800" b="0" i="0" u="none" strike="noStrike" kern="1200" cap="none" spc="0" normalizeH="0" baseline="0" noProof="0" smtClean="0">
                <a:ln>
                  <a:noFill/>
                </a:ln>
                <a:solidFill>
                  <a:srgbClr val="000000"/>
                </a:solidFill>
                <a:effectLst/>
                <a:uLnTx/>
                <a:uFillTx/>
                <a:latin typeface="CorpoS" pitchFamily="2" charset="0"/>
                <a:ea typeface="+mn-ea"/>
                <a:cs typeface="Arial" charset="0"/>
              </a:rPr>
              <a:pPr marL="0" marR="0" lvl="0" indent="0" algn="ctr" defTabSz="957756" rtl="0" eaLnBrk="1" fontAlgn="auto" latinLnBrk="0" hangingPunct="1">
                <a:lnSpc>
                  <a:spcPct val="100000"/>
                </a:lnSpc>
                <a:spcBef>
                  <a:spcPts val="0"/>
                </a:spcBef>
                <a:spcAft>
                  <a:spcPts val="0"/>
                </a:spcAft>
                <a:buClrTx/>
                <a:buSzTx/>
                <a:buFontTx/>
                <a:buNone/>
                <a:tabLst/>
                <a:defRPr/>
              </a:pPr>
              <a:t>8</a:t>
            </a:fld>
            <a:endParaRPr kumimoji="0" lang="de-DE" altLang="en-US" sz="800" b="0" i="0" u="none" strike="noStrike" kern="1200" cap="none" spc="0" normalizeH="0" baseline="0" noProof="0" smtClean="0">
              <a:ln>
                <a:noFill/>
              </a:ln>
              <a:solidFill>
                <a:srgbClr val="000000"/>
              </a:solidFill>
              <a:effectLst/>
              <a:uLnTx/>
              <a:uFillTx/>
              <a:latin typeface="CorpoS" pitchFamily="2" charset="0"/>
              <a:ea typeface="+mn-ea"/>
              <a:cs typeface="Arial" charset="0"/>
            </a:endParaRPr>
          </a:p>
        </p:txBody>
      </p:sp>
      <p:sp>
        <p:nvSpPr>
          <p:cNvPr id="8" name="Freeform 5"/>
          <p:cNvSpPr>
            <a:spLocks noEditPoints="1"/>
          </p:cNvSpPr>
          <p:nvPr/>
        </p:nvSpPr>
        <p:spPr bwMode="gray">
          <a:xfrm>
            <a:off x="4654550" y="1944688"/>
            <a:ext cx="3448050" cy="1187450"/>
          </a:xfrm>
          <a:custGeom>
            <a:avLst/>
            <a:gdLst>
              <a:gd name="T0" fmla="*/ 793 w 976"/>
              <a:gd name="T1" fmla="*/ 207 h 311"/>
              <a:gd name="T2" fmla="*/ 301 w 976"/>
              <a:gd name="T3" fmla="*/ 59 h 311"/>
              <a:gd name="T4" fmla="*/ 661 w 976"/>
              <a:gd name="T5" fmla="*/ 44 h 311"/>
              <a:gd name="T6" fmla="*/ 472 w 976"/>
              <a:gd name="T7" fmla="*/ 45 h 311"/>
              <a:gd name="T8" fmla="*/ 336 w 976"/>
              <a:gd name="T9" fmla="*/ 12 h 311"/>
              <a:gd name="T10" fmla="*/ 191 w 976"/>
              <a:gd name="T11" fmla="*/ 48 h 311"/>
              <a:gd name="T12" fmla="*/ 180 w 976"/>
              <a:gd name="T13" fmla="*/ 43 h 311"/>
              <a:gd name="T14" fmla="*/ 351 w 976"/>
              <a:gd name="T15" fmla="*/ 16 h 311"/>
              <a:gd name="T16" fmla="*/ 149 w 976"/>
              <a:gd name="T17" fmla="*/ 84 h 311"/>
              <a:gd name="T18" fmla="*/ 824 w 976"/>
              <a:gd name="T19" fmla="*/ 78 h 311"/>
              <a:gd name="T20" fmla="*/ 723 w 976"/>
              <a:gd name="T21" fmla="*/ 69 h 311"/>
              <a:gd name="T22" fmla="*/ 652 w 976"/>
              <a:gd name="T23" fmla="*/ 59 h 311"/>
              <a:gd name="T24" fmla="*/ 583 w 976"/>
              <a:gd name="T25" fmla="*/ 67 h 311"/>
              <a:gd name="T26" fmla="*/ 537 w 976"/>
              <a:gd name="T27" fmla="*/ 54 h 311"/>
              <a:gd name="T28" fmla="*/ 481 w 976"/>
              <a:gd name="T29" fmla="*/ 52 h 311"/>
              <a:gd name="T30" fmla="*/ 448 w 976"/>
              <a:gd name="T31" fmla="*/ 53 h 311"/>
              <a:gd name="T32" fmla="*/ 401 w 976"/>
              <a:gd name="T33" fmla="*/ 25 h 311"/>
              <a:gd name="T34" fmla="*/ 310 w 976"/>
              <a:gd name="T35" fmla="*/ 52 h 311"/>
              <a:gd name="T36" fmla="*/ 287 w 976"/>
              <a:gd name="T37" fmla="*/ 64 h 311"/>
              <a:gd name="T38" fmla="*/ 317 w 976"/>
              <a:gd name="T39" fmla="*/ 94 h 311"/>
              <a:gd name="T40" fmla="*/ 293 w 976"/>
              <a:gd name="T41" fmla="*/ 88 h 311"/>
              <a:gd name="T42" fmla="*/ 264 w 976"/>
              <a:gd name="T43" fmla="*/ 88 h 311"/>
              <a:gd name="T44" fmla="*/ 182 w 976"/>
              <a:gd name="T45" fmla="*/ 84 h 311"/>
              <a:gd name="T46" fmla="*/ 134 w 976"/>
              <a:gd name="T47" fmla="*/ 100 h 311"/>
              <a:gd name="T48" fmla="*/ 92 w 976"/>
              <a:gd name="T49" fmla="*/ 122 h 311"/>
              <a:gd name="T50" fmla="*/ 67 w 976"/>
              <a:gd name="T51" fmla="*/ 82 h 311"/>
              <a:gd name="T52" fmla="*/ 46 w 976"/>
              <a:gd name="T53" fmla="*/ 100 h 311"/>
              <a:gd name="T54" fmla="*/ 59 w 976"/>
              <a:gd name="T55" fmla="*/ 152 h 311"/>
              <a:gd name="T56" fmla="*/ 53 w 976"/>
              <a:gd name="T57" fmla="*/ 185 h 311"/>
              <a:gd name="T58" fmla="*/ 79 w 976"/>
              <a:gd name="T59" fmla="*/ 216 h 311"/>
              <a:gd name="T60" fmla="*/ 123 w 976"/>
              <a:gd name="T61" fmla="*/ 236 h 311"/>
              <a:gd name="T62" fmla="*/ 128 w 976"/>
              <a:gd name="T63" fmla="*/ 271 h 311"/>
              <a:gd name="T64" fmla="*/ 191 w 976"/>
              <a:gd name="T65" fmla="*/ 305 h 311"/>
              <a:gd name="T66" fmla="*/ 204 w 976"/>
              <a:gd name="T67" fmla="*/ 267 h 311"/>
              <a:gd name="T68" fmla="*/ 225 w 976"/>
              <a:gd name="T69" fmla="*/ 226 h 311"/>
              <a:gd name="T70" fmla="*/ 272 w 976"/>
              <a:gd name="T71" fmla="*/ 202 h 311"/>
              <a:gd name="T72" fmla="*/ 356 w 976"/>
              <a:gd name="T73" fmla="*/ 204 h 311"/>
              <a:gd name="T74" fmla="*/ 458 w 976"/>
              <a:gd name="T75" fmla="*/ 243 h 311"/>
              <a:gd name="T76" fmla="*/ 507 w 976"/>
              <a:gd name="T77" fmla="*/ 237 h 311"/>
              <a:gd name="T78" fmla="*/ 551 w 976"/>
              <a:gd name="T79" fmla="*/ 231 h 311"/>
              <a:gd name="T80" fmla="*/ 629 w 976"/>
              <a:gd name="T81" fmla="*/ 234 h 311"/>
              <a:gd name="T82" fmla="*/ 668 w 976"/>
              <a:gd name="T83" fmla="*/ 206 h 311"/>
              <a:gd name="T84" fmla="*/ 746 w 976"/>
              <a:gd name="T85" fmla="*/ 245 h 311"/>
              <a:gd name="T86" fmla="*/ 782 w 976"/>
              <a:gd name="T87" fmla="*/ 267 h 311"/>
              <a:gd name="T88" fmla="*/ 804 w 976"/>
              <a:gd name="T89" fmla="*/ 292 h 311"/>
              <a:gd name="T90" fmla="*/ 787 w 976"/>
              <a:gd name="T91" fmla="*/ 209 h 311"/>
              <a:gd name="T92" fmla="*/ 744 w 976"/>
              <a:gd name="T93" fmla="*/ 197 h 311"/>
              <a:gd name="T94" fmla="*/ 786 w 976"/>
              <a:gd name="T95" fmla="*/ 160 h 311"/>
              <a:gd name="T96" fmla="*/ 824 w 976"/>
              <a:gd name="T97" fmla="*/ 145 h 311"/>
              <a:gd name="T98" fmla="*/ 868 w 976"/>
              <a:gd name="T99" fmla="*/ 143 h 311"/>
              <a:gd name="T100" fmla="*/ 907 w 976"/>
              <a:gd name="T101" fmla="*/ 227 h 311"/>
              <a:gd name="T102" fmla="*/ 882 w 976"/>
              <a:gd name="T103" fmla="*/ 167 h 311"/>
              <a:gd name="T104" fmla="*/ 932 w 976"/>
              <a:gd name="T105" fmla="*/ 131 h 311"/>
              <a:gd name="T106" fmla="*/ 917 w 976"/>
              <a:gd name="T107" fmla="*/ 105 h 311"/>
              <a:gd name="T108" fmla="*/ 567 w 976"/>
              <a:gd name="T109" fmla="*/ 221 h 311"/>
              <a:gd name="T110" fmla="*/ 579 w 976"/>
              <a:gd name="T111" fmla="*/ 202 h 311"/>
              <a:gd name="T112" fmla="*/ 18 w 976"/>
              <a:gd name="T113" fmla="*/ 198 h 311"/>
              <a:gd name="T114" fmla="*/ 168 w 976"/>
              <a:gd name="T115" fmla="*/ 11 h 311"/>
              <a:gd name="T116" fmla="*/ 105 w 976"/>
              <a:gd name="T117" fmla="*/ 7 h 311"/>
              <a:gd name="T118" fmla="*/ 141 w 976"/>
              <a:gd name="T119" fmla="*/ 7 h 311"/>
              <a:gd name="T120" fmla="*/ 143 w 976"/>
              <a:gd name="T121" fmla="*/ 6 h 311"/>
              <a:gd name="T122" fmla="*/ 156 w 976"/>
              <a:gd name="T123" fmla="*/ 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76" h="311">
                <a:moveTo>
                  <a:pt x="842" y="262"/>
                </a:moveTo>
                <a:cubicBezTo>
                  <a:pt x="838" y="259"/>
                  <a:pt x="838" y="259"/>
                  <a:pt x="838" y="259"/>
                </a:cubicBezTo>
                <a:cubicBezTo>
                  <a:pt x="838" y="259"/>
                  <a:pt x="835" y="258"/>
                  <a:pt x="832" y="255"/>
                </a:cubicBezTo>
                <a:cubicBezTo>
                  <a:pt x="831" y="252"/>
                  <a:pt x="829" y="245"/>
                  <a:pt x="829" y="245"/>
                </a:cubicBezTo>
                <a:cubicBezTo>
                  <a:pt x="829" y="245"/>
                  <a:pt x="825" y="243"/>
                  <a:pt x="827" y="242"/>
                </a:cubicBezTo>
                <a:cubicBezTo>
                  <a:pt x="829" y="241"/>
                  <a:pt x="842" y="247"/>
                  <a:pt x="842" y="247"/>
                </a:cubicBezTo>
                <a:cubicBezTo>
                  <a:pt x="834" y="241"/>
                  <a:pt x="834" y="241"/>
                  <a:pt x="834" y="241"/>
                </a:cubicBezTo>
                <a:cubicBezTo>
                  <a:pt x="834" y="241"/>
                  <a:pt x="831" y="236"/>
                  <a:pt x="829" y="235"/>
                </a:cubicBezTo>
                <a:cubicBezTo>
                  <a:pt x="827" y="234"/>
                  <a:pt x="825" y="232"/>
                  <a:pt x="825" y="232"/>
                </a:cubicBezTo>
                <a:cubicBezTo>
                  <a:pt x="816" y="223"/>
                  <a:pt x="816" y="223"/>
                  <a:pt x="816" y="223"/>
                </a:cubicBezTo>
                <a:cubicBezTo>
                  <a:pt x="814" y="223"/>
                  <a:pt x="814" y="223"/>
                  <a:pt x="814" y="223"/>
                </a:cubicBezTo>
                <a:cubicBezTo>
                  <a:pt x="813" y="220"/>
                  <a:pt x="813" y="220"/>
                  <a:pt x="813" y="220"/>
                </a:cubicBezTo>
                <a:cubicBezTo>
                  <a:pt x="813" y="220"/>
                  <a:pt x="811" y="221"/>
                  <a:pt x="809" y="219"/>
                </a:cubicBezTo>
                <a:cubicBezTo>
                  <a:pt x="807" y="216"/>
                  <a:pt x="808" y="214"/>
                  <a:pt x="808" y="214"/>
                </a:cubicBezTo>
                <a:cubicBezTo>
                  <a:pt x="804" y="210"/>
                  <a:pt x="804" y="210"/>
                  <a:pt x="804" y="210"/>
                </a:cubicBezTo>
                <a:cubicBezTo>
                  <a:pt x="802" y="210"/>
                  <a:pt x="802" y="210"/>
                  <a:pt x="802" y="210"/>
                </a:cubicBezTo>
                <a:cubicBezTo>
                  <a:pt x="801" y="207"/>
                  <a:pt x="801" y="207"/>
                  <a:pt x="801" y="207"/>
                </a:cubicBezTo>
                <a:cubicBezTo>
                  <a:pt x="796" y="204"/>
                  <a:pt x="796" y="204"/>
                  <a:pt x="796" y="204"/>
                </a:cubicBezTo>
                <a:cubicBezTo>
                  <a:pt x="795" y="201"/>
                  <a:pt x="795" y="201"/>
                  <a:pt x="795" y="201"/>
                </a:cubicBezTo>
                <a:cubicBezTo>
                  <a:pt x="795" y="201"/>
                  <a:pt x="792" y="199"/>
                  <a:pt x="791" y="200"/>
                </a:cubicBezTo>
                <a:cubicBezTo>
                  <a:pt x="790" y="201"/>
                  <a:pt x="797" y="206"/>
                  <a:pt x="796" y="206"/>
                </a:cubicBezTo>
                <a:cubicBezTo>
                  <a:pt x="796" y="207"/>
                  <a:pt x="794" y="204"/>
                  <a:pt x="793" y="207"/>
                </a:cubicBezTo>
                <a:cubicBezTo>
                  <a:pt x="793" y="209"/>
                  <a:pt x="797" y="214"/>
                  <a:pt x="797" y="214"/>
                </a:cubicBezTo>
                <a:cubicBezTo>
                  <a:pt x="797" y="214"/>
                  <a:pt x="799" y="217"/>
                  <a:pt x="800" y="218"/>
                </a:cubicBezTo>
                <a:cubicBezTo>
                  <a:pt x="801" y="219"/>
                  <a:pt x="808" y="224"/>
                  <a:pt x="810" y="226"/>
                </a:cubicBezTo>
                <a:cubicBezTo>
                  <a:pt x="812" y="229"/>
                  <a:pt x="812" y="232"/>
                  <a:pt x="814" y="234"/>
                </a:cubicBezTo>
                <a:cubicBezTo>
                  <a:pt x="816" y="236"/>
                  <a:pt x="821" y="245"/>
                  <a:pt x="821" y="245"/>
                </a:cubicBezTo>
                <a:cubicBezTo>
                  <a:pt x="821" y="245"/>
                  <a:pt x="822" y="248"/>
                  <a:pt x="823" y="248"/>
                </a:cubicBezTo>
                <a:cubicBezTo>
                  <a:pt x="825" y="248"/>
                  <a:pt x="827" y="250"/>
                  <a:pt x="828" y="252"/>
                </a:cubicBezTo>
                <a:cubicBezTo>
                  <a:pt x="829" y="253"/>
                  <a:pt x="829" y="256"/>
                  <a:pt x="829" y="256"/>
                </a:cubicBezTo>
                <a:cubicBezTo>
                  <a:pt x="833" y="260"/>
                  <a:pt x="833" y="260"/>
                  <a:pt x="833" y="260"/>
                </a:cubicBezTo>
                <a:cubicBezTo>
                  <a:pt x="835" y="266"/>
                  <a:pt x="835" y="266"/>
                  <a:pt x="835" y="266"/>
                </a:cubicBezTo>
                <a:cubicBezTo>
                  <a:pt x="839" y="270"/>
                  <a:pt x="839" y="270"/>
                  <a:pt x="839" y="270"/>
                </a:cubicBezTo>
                <a:cubicBezTo>
                  <a:pt x="839" y="270"/>
                  <a:pt x="837" y="264"/>
                  <a:pt x="838" y="264"/>
                </a:cubicBezTo>
                <a:cubicBezTo>
                  <a:pt x="840" y="263"/>
                  <a:pt x="840" y="265"/>
                  <a:pt x="840" y="265"/>
                </a:cubicBezTo>
                <a:cubicBezTo>
                  <a:pt x="844" y="265"/>
                  <a:pt x="844" y="265"/>
                  <a:pt x="844" y="265"/>
                </a:cubicBezTo>
                <a:cubicBezTo>
                  <a:pt x="847" y="269"/>
                  <a:pt x="847" y="269"/>
                  <a:pt x="847" y="269"/>
                </a:cubicBezTo>
                <a:cubicBezTo>
                  <a:pt x="847" y="266"/>
                  <a:pt x="847" y="266"/>
                  <a:pt x="847" y="266"/>
                </a:cubicBezTo>
                <a:cubicBezTo>
                  <a:pt x="844" y="262"/>
                  <a:pt x="844" y="262"/>
                  <a:pt x="844" y="262"/>
                </a:cubicBezTo>
                <a:lnTo>
                  <a:pt x="842" y="262"/>
                </a:lnTo>
                <a:close/>
                <a:moveTo>
                  <a:pt x="752" y="192"/>
                </a:moveTo>
                <a:cubicBezTo>
                  <a:pt x="751" y="193"/>
                  <a:pt x="753" y="198"/>
                  <a:pt x="756" y="198"/>
                </a:cubicBezTo>
                <a:cubicBezTo>
                  <a:pt x="759" y="198"/>
                  <a:pt x="753" y="191"/>
                  <a:pt x="752" y="192"/>
                </a:cubicBezTo>
                <a:close/>
                <a:moveTo>
                  <a:pt x="301" y="59"/>
                </a:moveTo>
                <a:cubicBezTo>
                  <a:pt x="298" y="58"/>
                  <a:pt x="298" y="58"/>
                  <a:pt x="298" y="58"/>
                </a:cubicBezTo>
                <a:cubicBezTo>
                  <a:pt x="295" y="60"/>
                  <a:pt x="295" y="60"/>
                  <a:pt x="295" y="60"/>
                </a:cubicBezTo>
                <a:cubicBezTo>
                  <a:pt x="299" y="62"/>
                  <a:pt x="299" y="62"/>
                  <a:pt x="299" y="62"/>
                </a:cubicBezTo>
                <a:lnTo>
                  <a:pt x="301" y="59"/>
                </a:lnTo>
                <a:close/>
                <a:moveTo>
                  <a:pt x="306" y="56"/>
                </a:moveTo>
                <a:cubicBezTo>
                  <a:pt x="302" y="53"/>
                  <a:pt x="303" y="57"/>
                  <a:pt x="303" y="57"/>
                </a:cubicBezTo>
                <a:cubicBezTo>
                  <a:pt x="307" y="59"/>
                  <a:pt x="310" y="59"/>
                  <a:pt x="306" y="56"/>
                </a:cubicBezTo>
                <a:close/>
                <a:moveTo>
                  <a:pt x="623" y="54"/>
                </a:moveTo>
                <a:cubicBezTo>
                  <a:pt x="630" y="53"/>
                  <a:pt x="630" y="53"/>
                  <a:pt x="630" y="53"/>
                </a:cubicBezTo>
                <a:cubicBezTo>
                  <a:pt x="642" y="54"/>
                  <a:pt x="642" y="54"/>
                  <a:pt x="642" y="54"/>
                </a:cubicBezTo>
                <a:cubicBezTo>
                  <a:pt x="642" y="54"/>
                  <a:pt x="638" y="50"/>
                  <a:pt x="636" y="50"/>
                </a:cubicBezTo>
                <a:cubicBezTo>
                  <a:pt x="633" y="49"/>
                  <a:pt x="624" y="50"/>
                  <a:pt x="624" y="50"/>
                </a:cubicBezTo>
                <a:lnTo>
                  <a:pt x="623" y="54"/>
                </a:lnTo>
                <a:close/>
                <a:moveTo>
                  <a:pt x="623" y="41"/>
                </a:moveTo>
                <a:cubicBezTo>
                  <a:pt x="629" y="42"/>
                  <a:pt x="629" y="42"/>
                  <a:pt x="629" y="42"/>
                </a:cubicBezTo>
                <a:cubicBezTo>
                  <a:pt x="631" y="40"/>
                  <a:pt x="630" y="38"/>
                  <a:pt x="627" y="38"/>
                </a:cubicBezTo>
                <a:cubicBezTo>
                  <a:pt x="624" y="38"/>
                  <a:pt x="615" y="36"/>
                  <a:pt x="616" y="38"/>
                </a:cubicBezTo>
                <a:cubicBezTo>
                  <a:pt x="617" y="40"/>
                  <a:pt x="623" y="41"/>
                  <a:pt x="623" y="41"/>
                </a:cubicBezTo>
                <a:close/>
                <a:moveTo>
                  <a:pt x="616" y="47"/>
                </a:moveTo>
                <a:cubicBezTo>
                  <a:pt x="612" y="51"/>
                  <a:pt x="621" y="51"/>
                  <a:pt x="623" y="49"/>
                </a:cubicBezTo>
                <a:cubicBezTo>
                  <a:pt x="624" y="47"/>
                  <a:pt x="617" y="46"/>
                  <a:pt x="616" y="47"/>
                </a:cubicBezTo>
                <a:close/>
                <a:moveTo>
                  <a:pt x="661" y="44"/>
                </a:moveTo>
                <a:cubicBezTo>
                  <a:pt x="665" y="42"/>
                  <a:pt x="650" y="42"/>
                  <a:pt x="650" y="42"/>
                </a:cubicBezTo>
                <a:cubicBezTo>
                  <a:pt x="650" y="42"/>
                  <a:pt x="647" y="39"/>
                  <a:pt x="645" y="39"/>
                </a:cubicBezTo>
                <a:cubicBezTo>
                  <a:pt x="644" y="39"/>
                  <a:pt x="640" y="40"/>
                  <a:pt x="640" y="40"/>
                </a:cubicBezTo>
                <a:cubicBezTo>
                  <a:pt x="636" y="39"/>
                  <a:pt x="636" y="39"/>
                  <a:pt x="636" y="39"/>
                </a:cubicBezTo>
                <a:cubicBezTo>
                  <a:pt x="640" y="42"/>
                  <a:pt x="640" y="42"/>
                  <a:pt x="640" y="42"/>
                </a:cubicBezTo>
                <a:cubicBezTo>
                  <a:pt x="640" y="42"/>
                  <a:pt x="656" y="47"/>
                  <a:pt x="661" y="44"/>
                </a:cubicBezTo>
                <a:close/>
                <a:moveTo>
                  <a:pt x="819" y="80"/>
                </a:moveTo>
                <a:cubicBezTo>
                  <a:pt x="820" y="79"/>
                  <a:pt x="808" y="77"/>
                  <a:pt x="808" y="77"/>
                </a:cubicBezTo>
                <a:cubicBezTo>
                  <a:pt x="808" y="78"/>
                  <a:pt x="817" y="82"/>
                  <a:pt x="819" y="80"/>
                </a:cubicBezTo>
                <a:close/>
                <a:moveTo>
                  <a:pt x="606" y="45"/>
                </a:moveTo>
                <a:cubicBezTo>
                  <a:pt x="607" y="42"/>
                  <a:pt x="607" y="42"/>
                  <a:pt x="607" y="42"/>
                </a:cubicBezTo>
                <a:cubicBezTo>
                  <a:pt x="607" y="42"/>
                  <a:pt x="612" y="42"/>
                  <a:pt x="613" y="42"/>
                </a:cubicBezTo>
                <a:cubicBezTo>
                  <a:pt x="615" y="42"/>
                  <a:pt x="620" y="42"/>
                  <a:pt x="620" y="42"/>
                </a:cubicBezTo>
                <a:cubicBezTo>
                  <a:pt x="613" y="39"/>
                  <a:pt x="613" y="39"/>
                  <a:pt x="613" y="39"/>
                </a:cubicBezTo>
                <a:cubicBezTo>
                  <a:pt x="614" y="37"/>
                  <a:pt x="614" y="37"/>
                  <a:pt x="614" y="37"/>
                </a:cubicBezTo>
                <a:cubicBezTo>
                  <a:pt x="604" y="35"/>
                  <a:pt x="604" y="35"/>
                  <a:pt x="604" y="35"/>
                </a:cubicBezTo>
                <a:cubicBezTo>
                  <a:pt x="606" y="38"/>
                  <a:pt x="606" y="38"/>
                  <a:pt x="606" y="38"/>
                </a:cubicBezTo>
                <a:cubicBezTo>
                  <a:pt x="606" y="38"/>
                  <a:pt x="586" y="31"/>
                  <a:pt x="587" y="36"/>
                </a:cubicBezTo>
                <a:cubicBezTo>
                  <a:pt x="587" y="41"/>
                  <a:pt x="606" y="45"/>
                  <a:pt x="606" y="45"/>
                </a:cubicBezTo>
                <a:close/>
                <a:moveTo>
                  <a:pt x="465" y="47"/>
                </a:moveTo>
                <a:cubicBezTo>
                  <a:pt x="470" y="48"/>
                  <a:pt x="470" y="48"/>
                  <a:pt x="470" y="48"/>
                </a:cubicBezTo>
                <a:cubicBezTo>
                  <a:pt x="474" y="48"/>
                  <a:pt x="477" y="46"/>
                  <a:pt x="472" y="45"/>
                </a:cubicBezTo>
                <a:cubicBezTo>
                  <a:pt x="467" y="44"/>
                  <a:pt x="465" y="47"/>
                  <a:pt x="465" y="47"/>
                </a:cubicBezTo>
                <a:close/>
                <a:moveTo>
                  <a:pt x="584" y="38"/>
                </a:moveTo>
                <a:cubicBezTo>
                  <a:pt x="578" y="36"/>
                  <a:pt x="578" y="36"/>
                  <a:pt x="578" y="36"/>
                </a:cubicBezTo>
                <a:cubicBezTo>
                  <a:pt x="581" y="40"/>
                  <a:pt x="581" y="40"/>
                  <a:pt x="581" y="40"/>
                </a:cubicBezTo>
                <a:lnTo>
                  <a:pt x="584" y="38"/>
                </a:lnTo>
                <a:close/>
                <a:moveTo>
                  <a:pt x="860" y="72"/>
                </a:moveTo>
                <a:cubicBezTo>
                  <a:pt x="862" y="71"/>
                  <a:pt x="865" y="71"/>
                  <a:pt x="869" y="71"/>
                </a:cubicBezTo>
                <a:cubicBezTo>
                  <a:pt x="874" y="71"/>
                  <a:pt x="874" y="68"/>
                  <a:pt x="871" y="68"/>
                </a:cubicBezTo>
                <a:cubicBezTo>
                  <a:pt x="868" y="68"/>
                  <a:pt x="863" y="66"/>
                  <a:pt x="861" y="66"/>
                </a:cubicBezTo>
                <a:cubicBezTo>
                  <a:pt x="859" y="66"/>
                  <a:pt x="855" y="66"/>
                  <a:pt x="855" y="69"/>
                </a:cubicBezTo>
                <a:cubicBezTo>
                  <a:pt x="855" y="73"/>
                  <a:pt x="858" y="72"/>
                  <a:pt x="860" y="72"/>
                </a:cubicBezTo>
                <a:close/>
                <a:moveTo>
                  <a:pt x="257" y="55"/>
                </a:moveTo>
                <a:cubicBezTo>
                  <a:pt x="262" y="54"/>
                  <a:pt x="260" y="52"/>
                  <a:pt x="259" y="52"/>
                </a:cubicBezTo>
                <a:cubicBezTo>
                  <a:pt x="258" y="51"/>
                  <a:pt x="253" y="52"/>
                  <a:pt x="253" y="52"/>
                </a:cubicBezTo>
                <a:cubicBezTo>
                  <a:pt x="253" y="52"/>
                  <a:pt x="254" y="56"/>
                  <a:pt x="257" y="55"/>
                </a:cubicBezTo>
                <a:close/>
                <a:moveTo>
                  <a:pt x="204" y="75"/>
                </a:moveTo>
                <a:cubicBezTo>
                  <a:pt x="203" y="77"/>
                  <a:pt x="214" y="82"/>
                  <a:pt x="215" y="80"/>
                </a:cubicBezTo>
                <a:cubicBezTo>
                  <a:pt x="216" y="77"/>
                  <a:pt x="205" y="74"/>
                  <a:pt x="204" y="75"/>
                </a:cubicBezTo>
                <a:close/>
                <a:moveTo>
                  <a:pt x="336" y="12"/>
                </a:moveTo>
                <a:cubicBezTo>
                  <a:pt x="327" y="12"/>
                  <a:pt x="327" y="12"/>
                  <a:pt x="327" y="12"/>
                </a:cubicBezTo>
                <a:cubicBezTo>
                  <a:pt x="335" y="14"/>
                  <a:pt x="335" y="14"/>
                  <a:pt x="335" y="14"/>
                </a:cubicBezTo>
                <a:cubicBezTo>
                  <a:pt x="336" y="12"/>
                  <a:pt x="336" y="12"/>
                  <a:pt x="336" y="12"/>
                </a:cubicBezTo>
                <a:close/>
                <a:moveTo>
                  <a:pt x="166" y="57"/>
                </a:moveTo>
                <a:cubicBezTo>
                  <a:pt x="162" y="57"/>
                  <a:pt x="162" y="57"/>
                  <a:pt x="162" y="57"/>
                </a:cubicBezTo>
                <a:cubicBezTo>
                  <a:pt x="163" y="59"/>
                  <a:pt x="163" y="59"/>
                  <a:pt x="163" y="59"/>
                </a:cubicBezTo>
                <a:cubicBezTo>
                  <a:pt x="166" y="58"/>
                  <a:pt x="166" y="58"/>
                  <a:pt x="166" y="58"/>
                </a:cubicBezTo>
                <a:cubicBezTo>
                  <a:pt x="164" y="60"/>
                  <a:pt x="164" y="60"/>
                  <a:pt x="164" y="60"/>
                </a:cubicBezTo>
                <a:cubicBezTo>
                  <a:pt x="164" y="60"/>
                  <a:pt x="160" y="61"/>
                  <a:pt x="160" y="63"/>
                </a:cubicBezTo>
                <a:cubicBezTo>
                  <a:pt x="161" y="65"/>
                  <a:pt x="165" y="66"/>
                  <a:pt x="167" y="66"/>
                </a:cubicBezTo>
                <a:cubicBezTo>
                  <a:pt x="169" y="66"/>
                  <a:pt x="172" y="66"/>
                  <a:pt x="174" y="67"/>
                </a:cubicBezTo>
                <a:cubicBezTo>
                  <a:pt x="175" y="68"/>
                  <a:pt x="175" y="71"/>
                  <a:pt x="176" y="71"/>
                </a:cubicBezTo>
                <a:cubicBezTo>
                  <a:pt x="176" y="71"/>
                  <a:pt x="184" y="72"/>
                  <a:pt x="184" y="72"/>
                </a:cubicBezTo>
                <a:cubicBezTo>
                  <a:pt x="196" y="72"/>
                  <a:pt x="196" y="72"/>
                  <a:pt x="196" y="72"/>
                </a:cubicBezTo>
                <a:cubicBezTo>
                  <a:pt x="196" y="72"/>
                  <a:pt x="186" y="71"/>
                  <a:pt x="184" y="67"/>
                </a:cubicBezTo>
                <a:cubicBezTo>
                  <a:pt x="181" y="62"/>
                  <a:pt x="178" y="62"/>
                  <a:pt x="181" y="59"/>
                </a:cubicBezTo>
                <a:cubicBezTo>
                  <a:pt x="184" y="55"/>
                  <a:pt x="181" y="54"/>
                  <a:pt x="181" y="54"/>
                </a:cubicBezTo>
                <a:cubicBezTo>
                  <a:pt x="185" y="54"/>
                  <a:pt x="185" y="54"/>
                  <a:pt x="185" y="54"/>
                </a:cubicBezTo>
                <a:cubicBezTo>
                  <a:pt x="183" y="52"/>
                  <a:pt x="183" y="52"/>
                  <a:pt x="183" y="52"/>
                </a:cubicBezTo>
                <a:cubicBezTo>
                  <a:pt x="187" y="52"/>
                  <a:pt x="187" y="52"/>
                  <a:pt x="187" y="52"/>
                </a:cubicBezTo>
                <a:cubicBezTo>
                  <a:pt x="185" y="51"/>
                  <a:pt x="185" y="51"/>
                  <a:pt x="185" y="51"/>
                </a:cubicBezTo>
                <a:cubicBezTo>
                  <a:pt x="187" y="51"/>
                  <a:pt x="187" y="51"/>
                  <a:pt x="187" y="51"/>
                </a:cubicBezTo>
                <a:cubicBezTo>
                  <a:pt x="188" y="50"/>
                  <a:pt x="188" y="50"/>
                  <a:pt x="188" y="50"/>
                </a:cubicBezTo>
                <a:cubicBezTo>
                  <a:pt x="186" y="48"/>
                  <a:pt x="186" y="48"/>
                  <a:pt x="186" y="48"/>
                </a:cubicBezTo>
                <a:cubicBezTo>
                  <a:pt x="186" y="48"/>
                  <a:pt x="190" y="49"/>
                  <a:pt x="191" y="48"/>
                </a:cubicBezTo>
                <a:cubicBezTo>
                  <a:pt x="191" y="48"/>
                  <a:pt x="189" y="46"/>
                  <a:pt x="189" y="46"/>
                </a:cubicBezTo>
                <a:cubicBezTo>
                  <a:pt x="192" y="47"/>
                  <a:pt x="192" y="47"/>
                  <a:pt x="192" y="47"/>
                </a:cubicBezTo>
                <a:cubicBezTo>
                  <a:pt x="192" y="44"/>
                  <a:pt x="192" y="44"/>
                  <a:pt x="192" y="44"/>
                </a:cubicBezTo>
                <a:cubicBezTo>
                  <a:pt x="192" y="44"/>
                  <a:pt x="194" y="45"/>
                  <a:pt x="197" y="44"/>
                </a:cubicBezTo>
                <a:cubicBezTo>
                  <a:pt x="200" y="43"/>
                  <a:pt x="202" y="41"/>
                  <a:pt x="202" y="41"/>
                </a:cubicBezTo>
                <a:cubicBezTo>
                  <a:pt x="202" y="41"/>
                  <a:pt x="226" y="37"/>
                  <a:pt x="229" y="36"/>
                </a:cubicBezTo>
                <a:cubicBezTo>
                  <a:pt x="233" y="34"/>
                  <a:pt x="236" y="32"/>
                  <a:pt x="231" y="30"/>
                </a:cubicBezTo>
                <a:cubicBezTo>
                  <a:pt x="225" y="28"/>
                  <a:pt x="220" y="31"/>
                  <a:pt x="218" y="31"/>
                </a:cubicBezTo>
                <a:cubicBezTo>
                  <a:pt x="215" y="32"/>
                  <a:pt x="208" y="35"/>
                  <a:pt x="205" y="34"/>
                </a:cubicBezTo>
                <a:cubicBezTo>
                  <a:pt x="201" y="34"/>
                  <a:pt x="197" y="33"/>
                  <a:pt x="197" y="33"/>
                </a:cubicBezTo>
                <a:cubicBezTo>
                  <a:pt x="195" y="36"/>
                  <a:pt x="195" y="36"/>
                  <a:pt x="195" y="36"/>
                </a:cubicBezTo>
                <a:cubicBezTo>
                  <a:pt x="192" y="35"/>
                  <a:pt x="192" y="35"/>
                  <a:pt x="192" y="35"/>
                </a:cubicBezTo>
                <a:cubicBezTo>
                  <a:pt x="186" y="37"/>
                  <a:pt x="186" y="37"/>
                  <a:pt x="186" y="37"/>
                </a:cubicBezTo>
                <a:cubicBezTo>
                  <a:pt x="183" y="37"/>
                  <a:pt x="183" y="37"/>
                  <a:pt x="183" y="37"/>
                </a:cubicBezTo>
                <a:cubicBezTo>
                  <a:pt x="180" y="39"/>
                  <a:pt x="180" y="39"/>
                  <a:pt x="180" y="39"/>
                </a:cubicBezTo>
                <a:cubicBezTo>
                  <a:pt x="182" y="40"/>
                  <a:pt x="182" y="40"/>
                  <a:pt x="182" y="40"/>
                </a:cubicBezTo>
                <a:cubicBezTo>
                  <a:pt x="177" y="40"/>
                  <a:pt x="177" y="40"/>
                  <a:pt x="177" y="40"/>
                </a:cubicBezTo>
                <a:cubicBezTo>
                  <a:pt x="174" y="41"/>
                  <a:pt x="174" y="41"/>
                  <a:pt x="174" y="41"/>
                </a:cubicBezTo>
                <a:cubicBezTo>
                  <a:pt x="174" y="43"/>
                  <a:pt x="174" y="43"/>
                  <a:pt x="174" y="43"/>
                </a:cubicBezTo>
                <a:cubicBezTo>
                  <a:pt x="177" y="41"/>
                  <a:pt x="177" y="41"/>
                  <a:pt x="177" y="41"/>
                </a:cubicBezTo>
                <a:cubicBezTo>
                  <a:pt x="177" y="43"/>
                  <a:pt x="177" y="43"/>
                  <a:pt x="177" y="43"/>
                </a:cubicBezTo>
                <a:cubicBezTo>
                  <a:pt x="180" y="43"/>
                  <a:pt x="180" y="43"/>
                  <a:pt x="180" y="43"/>
                </a:cubicBezTo>
                <a:cubicBezTo>
                  <a:pt x="179" y="44"/>
                  <a:pt x="179" y="44"/>
                  <a:pt x="179" y="44"/>
                </a:cubicBezTo>
                <a:cubicBezTo>
                  <a:pt x="175" y="44"/>
                  <a:pt x="175" y="44"/>
                  <a:pt x="175" y="44"/>
                </a:cubicBezTo>
                <a:cubicBezTo>
                  <a:pt x="174" y="46"/>
                  <a:pt x="174" y="46"/>
                  <a:pt x="174" y="46"/>
                </a:cubicBezTo>
                <a:cubicBezTo>
                  <a:pt x="177" y="46"/>
                  <a:pt x="177" y="46"/>
                  <a:pt x="177" y="46"/>
                </a:cubicBezTo>
                <a:cubicBezTo>
                  <a:pt x="172" y="47"/>
                  <a:pt x="172" y="47"/>
                  <a:pt x="172" y="47"/>
                </a:cubicBezTo>
                <a:cubicBezTo>
                  <a:pt x="176" y="47"/>
                  <a:pt x="176" y="47"/>
                  <a:pt x="176" y="47"/>
                </a:cubicBezTo>
                <a:cubicBezTo>
                  <a:pt x="171" y="48"/>
                  <a:pt x="171" y="48"/>
                  <a:pt x="171" y="48"/>
                </a:cubicBezTo>
                <a:cubicBezTo>
                  <a:pt x="171" y="50"/>
                  <a:pt x="171" y="50"/>
                  <a:pt x="171" y="50"/>
                </a:cubicBezTo>
                <a:cubicBezTo>
                  <a:pt x="168" y="51"/>
                  <a:pt x="168" y="51"/>
                  <a:pt x="168" y="51"/>
                </a:cubicBezTo>
                <a:cubicBezTo>
                  <a:pt x="169" y="53"/>
                  <a:pt x="169" y="53"/>
                  <a:pt x="169" y="53"/>
                </a:cubicBezTo>
                <a:cubicBezTo>
                  <a:pt x="173" y="51"/>
                  <a:pt x="173" y="51"/>
                  <a:pt x="173" y="51"/>
                </a:cubicBezTo>
                <a:cubicBezTo>
                  <a:pt x="171" y="54"/>
                  <a:pt x="171" y="54"/>
                  <a:pt x="171" y="54"/>
                </a:cubicBezTo>
                <a:cubicBezTo>
                  <a:pt x="171" y="54"/>
                  <a:pt x="168" y="53"/>
                  <a:pt x="167" y="54"/>
                </a:cubicBezTo>
                <a:cubicBezTo>
                  <a:pt x="165" y="55"/>
                  <a:pt x="166" y="57"/>
                  <a:pt x="166" y="57"/>
                </a:cubicBezTo>
                <a:close/>
                <a:moveTo>
                  <a:pt x="331" y="11"/>
                </a:moveTo>
                <a:cubicBezTo>
                  <a:pt x="331" y="11"/>
                  <a:pt x="340" y="11"/>
                  <a:pt x="342" y="11"/>
                </a:cubicBezTo>
                <a:cubicBezTo>
                  <a:pt x="344" y="10"/>
                  <a:pt x="351" y="11"/>
                  <a:pt x="349" y="8"/>
                </a:cubicBezTo>
                <a:cubicBezTo>
                  <a:pt x="348" y="5"/>
                  <a:pt x="336" y="2"/>
                  <a:pt x="336" y="2"/>
                </a:cubicBezTo>
                <a:cubicBezTo>
                  <a:pt x="336" y="2"/>
                  <a:pt x="327" y="0"/>
                  <a:pt x="327" y="3"/>
                </a:cubicBezTo>
                <a:cubicBezTo>
                  <a:pt x="326" y="7"/>
                  <a:pt x="331" y="11"/>
                  <a:pt x="331" y="11"/>
                </a:cubicBezTo>
                <a:close/>
                <a:moveTo>
                  <a:pt x="341" y="13"/>
                </a:moveTo>
                <a:cubicBezTo>
                  <a:pt x="341" y="15"/>
                  <a:pt x="351" y="16"/>
                  <a:pt x="351" y="16"/>
                </a:cubicBezTo>
                <a:cubicBezTo>
                  <a:pt x="357" y="15"/>
                  <a:pt x="357" y="15"/>
                  <a:pt x="357" y="15"/>
                </a:cubicBezTo>
                <a:cubicBezTo>
                  <a:pt x="363" y="17"/>
                  <a:pt x="363" y="17"/>
                  <a:pt x="363" y="17"/>
                </a:cubicBezTo>
                <a:cubicBezTo>
                  <a:pt x="370" y="17"/>
                  <a:pt x="370" y="17"/>
                  <a:pt x="370" y="17"/>
                </a:cubicBezTo>
                <a:cubicBezTo>
                  <a:pt x="369" y="14"/>
                  <a:pt x="366" y="10"/>
                  <a:pt x="363" y="10"/>
                </a:cubicBezTo>
                <a:cubicBezTo>
                  <a:pt x="360" y="10"/>
                  <a:pt x="357" y="12"/>
                  <a:pt x="357" y="12"/>
                </a:cubicBezTo>
                <a:cubicBezTo>
                  <a:pt x="355" y="10"/>
                  <a:pt x="355" y="10"/>
                  <a:pt x="355" y="10"/>
                </a:cubicBezTo>
                <a:cubicBezTo>
                  <a:pt x="355" y="10"/>
                  <a:pt x="341" y="12"/>
                  <a:pt x="341" y="13"/>
                </a:cubicBezTo>
                <a:close/>
                <a:moveTo>
                  <a:pt x="386" y="22"/>
                </a:moveTo>
                <a:cubicBezTo>
                  <a:pt x="403" y="21"/>
                  <a:pt x="403" y="21"/>
                  <a:pt x="403" y="21"/>
                </a:cubicBezTo>
                <a:cubicBezTo>
                  <a:pt x="399" y="18"/>
                  <a:pt x="399" y="18"/>
                  <a:pt x="399" y="18"/>
                </a:cubicBezTo>
                <a:cubicBezTo>
                  <a:pt x="399" y="18"/>
                  <a:pt x="393" y="15"/>
                  <a:pt x="391" y="15"/>
                </a:cubicBezTo>
                <a:cubicBezTo>
                  <a:pt x="389" y="15"/>
                  <a:pt x="386" y="17"/>
                  <a:pt x="386" y="17"/>
                </a:cubicBezTo>
                <a:cubicBezTo>
                  <a:pt x="386" y="17"/>
                  <a:pt x="385" y="12"/>
                  <a:pt x="382" y="12"/>
                </a:cubicBezTo>
                <a:cubicBezTo>
                  <a:pt x="378" y="12"/>
                  <a:pt x="376" y="23"/>
                  <a:pt x="376" y="23"/>
                </a:cubicBezTo>
                <a:cubicBezTo>
                  <a:pt x="379" y="24"/>
                  <a:pt x="379" y="24"/>
                  <a:pt x="379" y="24"/>
                </a:cubicBezTo>
                <a:cubicBezTo>
                  <a:pt x="382" y="24"/>
                  <a:pt x="386" y="22"/>
                  <a:pt x="386" y="22"/>
                </a:cubicBezTo>
                <a:close/>
                <a:moveTo>
                  <a:pt x="152" y="87"/>
                </a:moveTo>
                <a:cubicBezTo>
                  <a:pt x="156" y="88"/>
                  <a:pt x="157" y="87"/>
                  <a:pt x="158" y="86"/>
                </a:cubicBezTo>
                <a:cubicBezTo>
                  <a:pt x="159" y="85"/>
                  <a:pt x="160" y="84"/>
                  <a:pt x="160" y="84"/>
                </a:cubicBezTo>
                <a:cubicBezTo>
                  <a:pt x="162" y="84"/>
                  <a:pt x="162" y="84"/>
                  <a:pt x="162" y="84"/>
                </a:cubicBezTo>
                <a:cubicBezTo>
                  <a:pt x="162" y="84"/>
                  <a:pt x="160" y="82"/>
                  <a:pt x="156" y="81"/>
                </a:cubicBezTo>
                <a:cubicBezTo>
                  <a:pt x="152" y="80"/>
                  <a:pt x="149" y="84"/>
                  <a:pt x="149" y="84"/>
                </a:cubicBezTo>
                <a:cubicBezTo>
                  <a:pt x="149" y="84"/>
                  <a:pt x="149" y="86"/>
                  <a:pt x="152" y="87"/>
                </a:cubicBezTo>
                <a:close/>
                <a:moveTo>
                  <a:pt x="974" y="107"/>
                </a:moveTo>
                <a:cubicBezTo>
                  <a:pt x="973" y="105"/>
                  <a:pt x="968" y="104"/>
                  <a:pt x="968" y="104"/>
                </a:cubicBezTo>
                <a:cubicBezTo>
                  <a:pt x="963" y="102"/>
                  <a:pt x="963" y="102"/>
                  <a:pt x="963" y="102"/>
                </a:cubicBezTo>
                <a:cubicBezTo>
                  <a:pt x="958" y="102"/>
                  <a:pt x="958" y="102"/>
                  <a:pt x="958" y="102"/>
                </a:cubicBezTo>
                <a:cubicBezTo>
                  <a:pt x="955" y="100"/>
                  <a:pt x="955" y="100"/>
                  <a:pt x="955" y="100"/>
                </a:cubicBezTo>
                <a:cubicBezTo>
                  <a:pt x="945" y="100"/>
                  <a:pt x="945" y="100"/>
                  <a:pt x="945" y="100"/>
                </a:cubicBezTo>
                <a:cubicBezTo>
                  <a:pt x="941" y="98"/>
                  <a:pt x="941" y="98"/>
                  <a:pt x="941" y="98"/>
                </a:cubicBezTo>
                <a:cubicBezTo>
                  <a:pt x="937" y="98"/>
                  <a:pt x="937" y="98"/>
                  <a:pt x="937" y="98"/>
                </a:cubicBezTo>
                <a:cubicBezTo>
                  <a:pt x="943" y="102"/>
                  <a:pt x="943" y="102"/>
                  <a:pt x="943" y="102"/>
                </a:cubicBezTo>
                <a:cubicBezTo>
                  <a:pt x="948" y="105"/>
                  <a:pt x="948" y="105"/>
                  <a:pt x="948" y="105"/>
                </a:cubicBezTo>
                <a:cubicBezTo>
                  <a:pt x="948" y="105"/>
                  <a:pt x="942" y="106"/>
                  <a:pt x="940" y="104"/>
                </a:cubicBezTo>
                <a:cubicBezTo>
                  <a:pt x="938" y="102"/>
                  <a:pt x="938" y="99"/>
                  <a:pt x="929" y="96"/>
                </a:cubicBezTo>
                <a:cubicBezTo>
                  <a:pt x="921" y="93"/>
                  <a:pt x="918" y="92"/>
                  <a:pt x="910" y="90"/>
                </a:cubicBezTo>
                <a:cubicBezTo>
                  <a:pt x="901" y="89"/>
                  <a:pt x="883" y="85"/>
                  <a:pt x="874" y="83"/>
                </a:cubicBezTo>
                <a:cubicBezTo>
                  <a:pt x="865" y="81"/>
                  <a:pt x="855" y="79"/>
                  <a:pt x="855" y="79"/>
                </a:cubicBezTo>
                <a:cubicBezTo>
                  <a:pt x="836" y="79"/>
                  <a:pt x="836" y="79"/>
                  <a:pt x="836" y="79"/>
                </a:cubicBezTo>
                <a:cubicBezTo>
                  <a:pt x="834" y="77"/>
                  <a:pt x="834" y="77"/>
                  <a:pt x="834" y="77"/>
                </a:cubicBezTo>
                <a:cubicBezTo>
                  <a:pt x="829" y="78"/>
                  <a:pt x="829" y="78"/>
                  <a:pt x="829" y="78"/>
                </a:cubicBezTo>
                <a:cubicBezTo>
                  <a:pt x="827" y="76"/>
                  <a:pt x="827" y="76"/>
                  <a:pt x="827" y="76"/>
                </a:cubicBezTo>
                <a:cubicBezTo>
                  <a:pt x="822" y="76"/>
                  <a:pt x="822" y="76"/>
                  <a:pt x="822" y="76"/>
                </a:cubicBezTo>
                <a:cubicBezTo>
                  <a:pt x="824" y="78"/>
                  <a:pt x="824" y="78"/>
                  <a:pt x="824" y="78"/>
                </a:cubicBezTo>
                <a:cubicBezTo>
                  <a:pt x="823" y="81"/>
                  <a:pt x="823" y="81"/>
                  <a:pt x="823" y="81"/>
                </a:cubicBezTo>
                <a:cubicBezTo>
                  <a:pt x="823" y="81"/>
                  <a:pt x="839" y="84"/>
                  <a:pt x="835" y="86"/>
                </a:cubicBezTo>
                <a:cubicBezTo>
                  <a:pt x="830" y="88"/>
                  <a:pt x="827" y="86"/>
                  <a:pt x="827" y="86"/>
                </a:cubicBezTo>
                <a:cubicBezTo>
                  <a:pt x="824" y="83"/>
                  <a:pt x="824" y="83"/>
                  <a:pt x="824" y="83"/>
                </a:cubicBezTo>
                <a:cubicBezTo>
                  <a:pt x="817" y="83"/>
                  <a:pt x="817" y="83"/>
                  <a:pt x="817" y="83"/>
                </a:cubicBezTo>
                <a:cubicBezTo>
                  <a:pt x="811" y="80"/>
                  <a:pt x="811" y="80"/>
                  <a:pt x="811" y="80"/>
                </a:cubicBezTo>
                <a:cubicBezTo>
                  <a:pt x="811" y="80"/>
                  <a:pt x="808" y="80"/>
                  <a:pt x="808" y="81"/>
                </a:cubicBezTo>
                <a:cubicBezTo>
                  <a:pt x="807" y="81"/>
                  <a:pt x="802" y="81"/>
                  <a:pt x="802" y="81"/>
                </a:cubicBezTo>
                <a:cubicBezTo>
                  <a:pt x="801" y="80"/>
                  <a:pt x="801" y="80"/>
                  <a:pt x="801" y="80"/>
                </a:cubicBezTo>
                <a:cubicBezTo>
                  <a:pt x="791" y="80"/>
                  <a:pt x="791" y="80"/>
                  <a:pt x="791" y="80"/>
                </a:cubicBezTo>
                <a:cubicBezTo>
                  <a:pt x="789" y="78"/>
                  <a:pt x="789" y="78"/>
                  <a:pt x="789" y="78"/>
                </a:cubicBezTo>
                <a:cubicBezTo>
                  <a:pt x="788" y="79"/>
                  <a:pt x="788" y="79"/>
                  <a:pt x="788" y="79"/>
                </a:cubicBezTo>
                <a:cubicBezTo>
                  <a:pt x="788" y="79"/>
                  <a:pt x="775" y="78"/>
                  <a:pt x="776" y="80"/>
                </a:cubicBezTo>
                <a:cubicBezTo>
                  <a:pt x="777" y="81"/>
                  <a:pt x="781" y="85"/>
                  <a:pt x="781" y="85"/>
                </a:cubicBezTo>
                <a:cubicBezTo>
                  <a:pt x="781" y="85"/>
                  <a:pt x="776" y="82"/>
                  <a:pt x="775" y="81"/>
                </a:cubicBezTo>
                <a:cubicBezTo>
                  <a:pt x="774" y="80"/>
                  <a:pt x="763" y="79"/>
                  <a:pt x="763" y="79"/>
                </a:cubicBezTo>
                <a:cubicBezTo>
                  <a:pt x="763" y="79"/>
                  <a:pt x="762" y="76"/>
                  <a:pt x="758" y="74"/>
                </a:cubicBezTo>
                <a:cubicBezTo>
                  <a:pt x="754" y="72"/>
                  <a:pt x="747" y="71"/>
                  <a:pt x="745" y="71"/>
                </a:cubicBezTo>
                <a:cubicBezTo>
                  <a:pt x="742" y="71"/>
                  <a:pt x="736" y="70"/>
                  <a:pt x="736" y="70"/>
                </a:cubicBezTo>
                <a:cubicBezTo>
                  <a:pt x="731" y="69"/>
                  <a:pt x="731" y="69"/>
                  <a:pt x="731" y="69"/>
                </a:cubicBezTo>
                <a:cubicBezTo>
                  <a:pt x="729" y="69"/>
                  <a:pt x="729" y="69"/>
                  <a:pt x="729" y="69"/>
                </a:cubicBezTo>
                <a:cubicBezTo>
                  <a:pt x="723" y="69"/>
                  <a:pt x="723" y="69"/>
                  <a:pt x="723" y="69"/>
                </a:cubicBezTo>
                <a:cubicBezTo>
                  <a:pt x="723" y="69"/>
                  <a:pt x="722" y="72"/>
                  <a:pt x="719" y="72"/>
                </a:cubicBezTo>
                <a:cubicBezTo>
                  <a:pt x="715" y="71"/>
                  <a:pt x="710" y="71"/>
                  <a:pt x="710" y="71"/>
                </a:cubicBezTo>
                <a:cubicBezTo>
                  <a:pt x="710" y="71"/>
                  <a:pt x="706" y="68"/>
                  <a:pt x="703" y="68"/>
                </a:cubicBezTo>
                <a:cubicBezTo>
                  <a:pt x="700" y="68"/>
                  <a:pt x="699" y="68"/>
                  <a:pt x="699" y="68"/>
                </a:cubicBezTo>
                <a:cubicBezTo>
                  <a:pt x="698" y="66"/>
                  <a:pt x="698" y="66"/>
                  <a:pt x="698" y="66"/>
                </a:cubicBezTo>
                <a:cubicBezTo>
                  <a:pt x="694" y="66"/>
                  <a:pt x="694" y="66"/>
                  <a:pt x="694" y="66"/>
                </a:cubicBezTo>
                <a:cubicBezTo>
                  <a:pt x="687" y="65"/>
                  <a:pt x="687" y="65"/>
                  <a:pt x="687" y="65"/>
                </a:cubicBezTo>
                <a:cubicBezTo>
                  <a:pt x="691" y="64"/>
                  <a:pt x="691" y="64"/>
                  <a:pt x="691" y="64"/>
                </a:cubicBezTo>
                <a:cubicBezTo>
                  <a:pt x="686" y="62"/>
                  <a:pt x="686" y="62"/>
                  <a:pt x="686" y="62"/>
                </a:cubicBezTo>
                <a:cubicBezTo>
                  <a:pt x="686" y="62"/>
                  <a:pt x="671" y="60"/>
                  <a:pt x="671" y="61"/>
                </a:cubicBezTo>
                <a:cubicBezTo>
                  <a:pt x="670" y="62"/>
                  <a:pt x="672" y="65"/>
                  <a:pt x="670" y="65"/>
                </a:cubicBezTo>
                <a:cubicBezTo>
                  <a:pt x="667" y="65"/>
                  <a:pt x="664" y="64"/>
                  <a:pt x="664" y="64"/>
                </a:cubicBezTo>
                <a:cubicBezTo>
                  <a:pt x="666" y="63"/>
                  <a:pt x="666" y="63"/>
                  <a:pt x="666" y="63"/>
                </a:cubicBezTo>
                <a:cubicBezTo>
                  <a:pt x="665" y="62"/>
                  <a:pt x="665" y="62"/>
                  <a:pt x="665" y="62"/>
                </a:cubicBezTo>
                <a:cubicBezTo>
                  <a:pt x="665" y="62"/>
                  <a:pt x="664" y="62"/>
                  <a:pt x="661" y="62"/>
                </a:cubicBezTo>
                <a:cubicBezTo>
                  <a:pt x="659" y="62"/>
                  <a:pt x="657" y="61"/>
                  <a:pt x="657" y="61"/>
                </a:cubicBezTo>
                <a:cubicBezTo>
                  <a:pt x="659" y="61"/>
                  <a:pt x="659" y="61"/>
                  <a:pt x="659" y="61"/>
                </a:cubicBezTo>
                <a:cubicBezTo>
                  <a:pt x="663" y="60"/>
                  <a:pt x="663" y="60"/>
                  <a:pt x="663" y="60"/>
                </a:cubicBezTo>
                <a:cubicBezTo>
                  <a:pt x="670" y="64"/>
                  <a:pt x="670" y="64"/>
                  <a:pt x="670" y="64"/>
                </a:cubicBezTo>
                <a:cubicBezTo>
                  <a:pt x="670" y="61"/>
                  <a:pt x="670" y="61"/>
                  <a:pt x="670" y="61"/>
                </a:cubicBezTo>
                <a:cubicBezTo>
                  <a:pt x="664" y="59"/>
                  <a:pt x="664" y="59"/>
                  <a:pt x="664" y="59"/>
                </a:cubicBezTo>
                <a:cubicBezTo>
                  <a:pt x="652" y="59"/>
                  <a:pt x="652" y="59"/>
                  <a:pt x="652" y="59"/>
                </a:cubicBezTo>
                <a:cubicBezTo>
                  <a:pt x="652" y="58"/>
                  <a:pt x="652" y="58"/>
                  <a:pt x="652" y="58"/>
                </a:cubicBezTo>
                <a:cubicBezTo>
                  <a:pt x="638" y="59"/>
                  <a:pt x="638" y="59"/>
                  <a:pt x="638" y="59"/>
                </a:cubicBezTo>
                <a:cubicBezTo>
                  <a:pt x="634" y="57"/>
                  <a:pt x="634" y="57"/>
                  <a:pt x="634" y="57"/>
                </a:cubicBezTo>
                <a:cubicBezTo>
                  <a:pt x="631" y="57"/>
                  <a:pt x="631" y="57"/>
                  <a:pt x="631" y="57"/>
                </a:cubicBezTo>
                <a:cubicBezTo>
                  <a:pt x="635" y="59"/>
                  <a:pt x="635" y="59"/>
                  <a:pt x="635" y="59"/>
                </a:cubicBezTo>
                <a:cubicBezTo>
                  <a:pt x="635" y="59"/>
                  <a:pt x="627" y="59"/>
                  <a:pt x="628" y="60"/>
                </a:cubicBezTo>
                <a:cubicBezTo>
                  <a:pt x="630" y="62"/>
                  <a:pt x="631" y="62"/>
                  <a:pt x="631" y="62"/>
                </a:cubicBezTo>
                <a:cubicBezTo>
                  <a:pt x="635" y="62"/>
                  <a:pt x="635" y="62"/>
                  <a:pt x="635" y="62"/>
                </a:cubicBezTo>
                <a:cubicBezTo>
                  <a:pt x="635" y="63"/>
                  <a:pt x="635" y="63"/>
                  <a:pt x="635" y="63"/>
                </a:cubicBezTo>
                <a:cubicBezTo>
                  <a:pt x="641" y="67"/>
                  <a:pt x="641" y="67"/>
                  <a:pt x="641" y="67"/>
                </a:cubicBezTo>
                <a:cubicBezTo>
                  <a:pt x="641" y="67"/>
                  <a:pt x="640" y="67"/>
                  <a:pt x="638" y="67"/>
                </a:cubicBezTo>
                <a:cubicBezTo>
                  <a:pt x="635" y="67"/>
                  <a:pt x="632" y="64"/>
                  <a:pt x="631" y="65"/>
                </a:cubicBezTo>
                <a:cubicBezTo>
                  <a:pt x="630" y="66"/>
                  <a:pt x="630" y="67"/>
                  <a:pt x="630" y="67"/>
                </a:cubicBezTo>
                <a:cubicBezTo>
                  <a:pt x="632" y="69"/>
                  <a:pt x="632" y="69"/>
                  <a:pt x="632" y="69"/>
                </a:cubicBezTo>
                <a:cubicBezTo>
                  <a:pt x="627" y="68"/>
                  <a:pt x="627" y="68"/>
                  <a:pt x="627" y="68"/>
                </a:cubicBezTo>
                <a:cubicBezTo>
                  <a:pt x="627" y="68"/>
                  <a:pt x="619" y="66"/>
                  <a:pt x="617" y="66"/>
                </a:cubicBezTo>
                <a:cubicBezTo>
                  <a:pt x="616" y="66"/>
                  <a:pt x="612" y="68"/>
                  <a:pt x="612" y="68"/>
                </a:cubicBezTo>
                <a:cubicBezTo>
                  <a:pt x="604" y="67"/>
                  <a:pt x="604" y="67"/>
                  <a:pt x="604" y="67"/>
                </a:cubicBezTo>
                <a:cubicBezTo>
                  <a:pt x="604" y="67"/>
                  <a:pt x="598" y="64"/>
                  <a:pt x="598" y="63"/>
                </a:cubicBezTo>
                <a:cubicBezTo>
                  <a:pt x="597" y="63"/>
                  <a:pt x="596" y="64"/>
                  <a:pt x="596" y="66"/>
                </a:cubicBezTo>
                <a:cubicBezTo>
                  <a:pt x="597" y="67"/>
                  <a:pt x="601" y="72"/>
                  <a:pt x="599" y="72"/>
                </a:cubicBezTo>
                <a:cubicBezTo>
                  <a:pt x="596" y="72"/>
                  <a:pt x="583" y="67"/>
                  <a:pt x="583" y="67"/>
                </a:cubicBezTo>
                <a:cubicBezTo>
                  <a:pt x="582" y="67"/>
                  <a:pt x="579" y="64"/>
                  <a:pt x="579" y="64"/>
                </a:cubicBezTo>
                <a:cubicBezTo>
                  <a:pt x="579" y="66"/>
                  <a:pt x="579" y="66"/>
                  <a:pt x="579" y="66"/>
                </a:cubicBezTo>
                <a:cubicBezTo>
                  <a:pt x="573" y="64"/>
                  <a:pt x="573" y="64"/>
                  <a:pt x="573" y="64"/>
                </a:cubicBezTo>
                <a:cubicBezTo>
                  <a:pt x="570" y="62"/>
                  <a:pt x="570" y="62"/>
                  <a:pt x="570" y="62"/>
                </a:cubicBezTo>
                <a:cubicBezTo>
                  <a:pt x="570" y="62"/>
                  <a:pt x="577" y="63"/>
                  <a:pt x="578" y="63"/>
                </a:cubicBezTo>
                <a:cubicBezTo>
                  <a:pt x="578" y="62"/>
                  <a:pt x="574" y="59"/>
                  <a:pt x="574" y="59"/>
                </a:cubicBezTo>
                <a:cubicBezTo>
                  <a:pt x="570" y="59"/>
                  <a:pt x="570" y="59"/>
                  <a:pt x="570" y="59"/>
                </a:cubicBezTo>
                <a:cubicBezTo>
                  <a:pt x="570" y="59"/>
                  <a:pt x="572" y="59"/>
                  <a:pt x="571" y="58"/>
                </a:cubicBezTo>
                <a:cubicBezTo>
                  <a:pt x="570" y="57"/>
                  <a:pt x="566" y="57"/>
                  <a:pt x="566" y="57"/>
                </a:cubicBezTo>
                <a:cubicBezTo>
                  <a:pt x="568" y="55"/>
                  <a:pt x="568" y="55"/>
                  <a:pt x="568" y="55"/>
                </a:cubicBezTo>
                <a:cubicBezTo>
                  <a:pt x="568" y="55"/>
                  <a:pt x="563" y="54"/>
                  <a:pt x="562" y="54"/>
                </a:cubicBezTo>
                <a:cubicBezTo>
                  <a:pt x="561" y="54"/>
                  <a:pt x="559" y="52"/>
                  <a:pt x="559" y="52"/>
                </a:cubicBezTo>
                <a:cubicBezTo>
                  <a:pt x="554" y="52"/>
                  <a:pt x="554" y="52"/>
                  <a:pt x="554" y="52"/>
                </a:cubicBezTo>
                <a:cubicBezTo>
                  <a:pt x="554" y="52"/>
                  <a:pt x="555" y="53"/>
                  <a:pt x="551" y="53"/>
                </a:cubicBezTo>
                <a:cubicBezTo>
                  <a:pt x="548" y="53"/>
                  <a:pt x="545" y="52"/>
                  <a:pt x="545" y="52"/>
                </a:cubicBezTo>
                <a:cubicBezTo>
                  <a:pt x="543" y="53"/>
                  <a:pt x="543" y="53"/>
                  <a:pt x="543" y="53"/>
                </a:cubicBezTo>
                <a:cubicBezTo>
                  <a:pt x="543" y="51"/>
                  <a:pt x="543" y="51"/>
                  <a:pt x="543" y="51"/>
                </a:cubicBezTo>
                <a:cubicBezTo>
                  <a:pt x="538" y="50"/>
                  <a:pt x="538" y="50"/>
                  <a:pt x="538" y="50"/>
                </a:cubicBezTo>
                <a:cubicBezTo>
                  <a:pt x="536" y="49"/>
                  <a:pt x="536" y="49"/>
                  <a:pt x="536" y="49"/>
                </a:cubicBezTo>
                <a:cubicBezTo>
                  <a:pt x="536" y="52"/>
                  <a:pt x="536" y="52"/>
                  <a:pt x="536" y="52"/>
                </a:cubicBezTo>
                <a:cubicBezTo>
                  <a:pt x="534" y="52"/>
                  <a:pt x="534" y="52"/>
                  <a:pt x="534" y="52"/>
                </a:cubicBezTo>
                <a:cubicBezTo>
                  <a:pt x="537" y="54"/>
                  <a:pt x="537" y="54"/>
                  <a:pt x="537" y="54"/>
                </a:cubicBezTo>
                <a:cubicBezTo>
                  <a:pt x="540" y="57"/>
                  <a:pt x="540" y="57"/>
                  <a:pt x="540" y="57"/>
                </a:cubicBezTo>
                <a:cubicBezTo>
                  <a:pt x="534" y="57"/>
                  <a:pt x="534" y="57"/>
                  <a:pt x="534" y="57"/>
                </a:cubicBezTo>
                <a:cubicBezTo>
                  <a:pt x="534" y="56"/>
                  <a:pt x="534" y="56"/>
                  <a:pt x="534" y="56"/>
                </a:cubicBezTo>
                <a:cubicBezTo>
                  <a:pt x="527" y="56"/>
                  <a:pt x="527" y="56"/>
                  <a:pt x="527" y="56"/>
                </a:cubicBezTo>
                <a:cubicBezTo>
                  <a:pt x="525" y="57"/>
                  <a:pt x="525" y="57"/>
                  <a:pt x="525" y="57"/>
                </a:cubicBezTo>
                <a:cubicBezTo>
                  <a:pt x="525" y="56"/>
                  <a:pt x="525" y="56"/>
                  <a:pt x="525" y="56"/>
                </a:cubicBezTo>
                <a:cubicBezTo>
                  <a:pt x="520" y="57"/>
                  <a:pt x="520" y="57"/>
                  <a:pt x="520" y="57"/>
                </a:cubicBezTo>
                <a:cubicBezTo>
                  <a:pt x="519" y="55"/>
                  <a:pt x="519" y="55"/>
                  <a:pt x="519" y="55"/>
                </a:cubicBezTo>
                <a:cubicBezTo>
                  <a:pt x="513" y="55"/>
                  <a:pt x="513" y="55"/>
                  <a:pt x="513" y="55"/>
                </a:cubicBezTo>
                <a:cubicBezTo>
                  <a:pt x="509" y="54"/>
                  <a:pt x="509" y="54"/>
                  <a:pt x="509" y="54"/>
                </a:cubicBezTo>
                <a:cubicBezTo>
                  <a:pt x="511" y="52"/>
                  <a:pt x="511" y="52"/>
                  <a:pt x="511" y="52"/>
                </a:cubicBezTo>
                <a:cubicBezTo>
                  <a:pt x="498" y="52"/>
                  <a:pt x="498" y="52"/>
                  <a:pt x="498" y="52"/>
                </a:cubicBezTo>
                <a:cubicBezTo>
                  <a:pt x="497" y="51"/>
                  <a:pt x="497" y="51"/>
                  <a:pt x="497" y="51"/>
                </a:cubicBezTo>
                <a:cubicBezTo>
                  <a:pt x="496" y="51"/>
                  <a:pt x="496" y="51"/>
                  <a:pt x="496" y="51"/>
                </a:cubicBezTo>
                <a:cubicBezTo>
                  <a:pt x="495" y="51"/>
                  <a:pt x="495" y="51"/>
                  <a:pt x="495" y="51"/>
                </a:cubicBezTo>
                <a:cubicBezTo>
                  <a:pt x="489" y="51"/>
                  <a:pt x="489" y="51"/>
                  <a:pt x="489" y="51"/>
                </a:cubicBezTo>
                <a:cubicBezTo>
                  <a:pt x="490" y="52"/>
                  <a:pt x="490" y="52"/>
                  <a:pt x="490" y="52"/>
                </a:cubicBezTo>
                <a:cubicBezTo>
                  <a:pt x="484" y="52"/>
                  <a:pt x="484" y="52"/>
                  <a:pt x="484" y="52"/>
                </a:cubicBezTo>
                <a:cubicBezTo>
                  <a:pt x="482" y="53"/>
                  <a:pt x="482" y="53"/>
                  <a:pt x="482" y="53"/>
                </a:cubicBezTo>
                <a:cubicBezTo>
                  <a:pt x="486" y="54"/>
                  <a:pt x="486" y="54"/>
                  <a:pt x="486" y="54"/>
                </a:cubicBezTo>
                <a:cubicBezTo>
                  <a:pt x="481" y="53"/>
                  <a:pt x="481" y="53"/>
                  <a:pt x="481" y="53"/>
                </a:cubicBezTo>
                <a:cubicBezTo>
                  <a:pt x="481" y="52"/>
                  <a:pt x="481" y="52"/>
                  <a:pt x="481" y="52"/>
                </a:cubicBezTo>
                <a:cubicBezTo>
                  <a:pt x="478" y="49"/>
                  <a:pt x="478" y="49"/>
                  <a:pt x="478" y="49"/>
                </a:cubicBezTo>
                <a:cubicBezTo>
                  <a:pt x="476" y="49"/>
                  <a:pt x="476" y="49"/>
                  <a:pt x="476" y="49"/>
                </a:cubicBezTo>
                <a:cubicBezTo>
                  <a:pt x="477" y="52"/>
                  <a:pt x="477" y="52"/>
                  <a:pt x="477" y="52"/>
                </a:cubicBezTo>
                <a:cubicBezTo>
                  <a:pt x="471" y="52"/>
                  <a:pt x="471" y="52"/>
                  <a:pt x="471" y="52"/>
                </a:cubicBezTo>
                <a:cubicBezTo>
                  <a:pt x="471" y="51"/>
                  <a:pt x="471" y="51"/>
                  <a:pt x="471" y="51"/>
                </a:cubicBezTo>
                <a:cubicBezTo>
                  <a:pt x="469" y="51"/>
                  <a:pt x="469" y="51"/>
                  <a:pt x="469" y="51"/>
                </a:cubicBezTo>
                <a:cubicBezTo>
                  <a:pt x="469" y="49"/>
                  <a:pt x="469" y="49"/>
                  <a:pt x="469" y="49"/>
                </a:cubicBezTo>
                <a:cubicBezTo>
                  <a:pt x="467" y="49"/>
                  <a:pt x="467" y="49"/>
                  <a:pt x="467" y="49"/>
                </a:cubicBezTo>
                <a:cubicBezTo>
                  <a:pt x="465" y="50"/>
                  <a:pt x="465" y="50"/>
                  <a:pt x="465" y="50"/>
                </a:cubicBezTo>
                <a:cubicBezTo>
                  <a:pt x="463" y="48"/>
                  <a:pt x="463" y="48"/>
                  <a:pt x="463" y="48"/>
                </a:cubicBezTo>
                <a:cubicBezTo>
                  <a:pt x="459" y="51"/>
                  <a:pt x="459" y="51"/>
                  <a:pt x="459" y="51"/>
                </a:cubicBezTo>
                <a:cubicBezTo>
                  <a:pt x="465" y="51"/>
                  <a:pt x="465" y="51"/>
                  <a:pt x="465" y="51"/>
                </a:cubicBezTo>
                <a:cubicBezTo>
                  <a:pt x="466" y="51"/>
                  <a:pt x="466" y="51"/>
                  <a:pt x="466" y="51"/>
                </a:cubicBezTo>
                <a:cubicBezTo>
                  <a:pt x="466" y="51"/>
                  <a:pt x="464" y="53"/>
                  <a:pt x="463" y="53"/>
                </a:cubicBezTo>
                <a:cubicBezTo>
                  <a:pt x="462" y="53"/>
                  <a:pt x="461" y="53"/>
                  <a:pt x="460" y="53"/>
                </a:cubicBezTo>
                <a:cubicBezTo>
                  <a:pt x="459" y="54"/>
                  <a:pt x="459" y="55"/>
                  <a:pt x="458" y="55"/>
                </a:cubicBezTo>
                <a:cubicBezTo>
                  <a:pt x="457" y="55"/>
                  <a:pt x="450" y="55"/>
                  <a:pt x="450" y="55"/>
                </a:cubicBezTo>
                <a:cubicBezTo>
                  <a:pt x="447" y="55"/>
                  <a:pt x="447" y="55"/>
                  <a:pt x="447" y="55"/>
                </a:cubicBezTo>
                <a:cubicBezTo>
                  <a:pt x="445" y="58"/>
                  <a:pt x="445" y="58"/>
                  <a:pt x="445" y="58"/>
                </a:cubicBezTo>
                <a:cubicBezTo>
                  <a:pt x="443" y="57"/>
                  <a:pt x="443" y="57"/>
                  <a:pt x="443" y="57"/>
                </a:cubicBezTo>
                <a:cubicBezTo>
                  <a:pt x="443" y="57"/>
                  <a:pt x="443" y="55"/>
                  <a:pt x="444" y="54"/>
                </a:cubicBezTo>
                <a:cubicBezTo>
                  <a:pt x="446" y="53"/>
                  <a:pt x="448" y="53"/>
                  <a:pt x="448" y="53"/>
                </a:cubicBezTo>
                <a:cubicBezTo>
                  <a:pt x="448" y="52"/>
                  <a:pt x="448" y="52"/>
                  <a:pt x="448" y="52"/>
                </a:cubicBezTo>
                <a:cubicBezTo>
                  <a:pt x="453" y="51"/>
                  <a:pt x="453" y="51"/>
                  <a:pt x="453" y="51"/>
                </a:cubicBezTo>
                <a:cubicBezTo>
                  <a:pt x="458" y="48"/>
                  <a:pt x="458" y="48"/>
                  <a:pt x="458" y="48"/>
                </a:cubicBezTo>
                <a:cubicBezTo>
                  <a:pt x="458" y="48"/>
                  <a:pt x="458" y="46"/>
                  <a:pt x="460" y="45"/>
                </a:cubicBezTo>
                <a:cubicBezTo>
                  <a:pt x="462" y="44"/>
                  <a:pt x="469" y="44"/>
                  <a:pt x="469" y="41"/>
                </a:cubicBezTo>
                <a:cubicBezTo>
                  <a:pt x="469" y="38"/>
                  <a:pt x="466" y="38"/>
                  <a:pt x="466" y="38"/>
                </a:cubicBezTo>
                <a:cubicBezTo>
                  <a:pt x="462" y="38"/>
                  <a:pt x="462" y="38"/>
                  <a:pt x="462" y="38"/>
                </a:cubicBezTo>
                <a:cubicBezTo>
                  <a:pt x="466" y="36"/>
                  <a:pt x="466" y="36"/>
                  <a:pt x="466" y="36"/>
                </a:cubicBezTo>
                <a:cubicBezTo>
                  <a:pt x="466" y="36"/>
                  <a:pt x="463" y="34"/>
                  <a:pt x="462" y="34"/>
                </a:cubicBezTo>
                <a:cubicBezTo>
                  <a:pt x="461" y="34"/>
                  <a:pt x="458" y="34"/>
                  <a:pt x="458" y="34"/>
                </a:cubicBezTo>
                <a:cubicBezTo>
                  <a:pt x="458" y="34"/>
                  <a:pt x="457" y="32"/>
                  <a:pt x="455" y="32"/>
                </a:cubicBezTo>
                <a:cubicBezTo>
                  <a:pt x="453" y="32"/>
                  <a:pt x="451" y="33"/>
                  <a:pt x="451" y="33"/>
                </a:cubicBezTo>
                <a:cubicBezTo>
                  <a:pt x="445" y="31"/>
                  <a:pt x="445" y="31"/>
                  <a:pt x="445" y="31"/>
                </a:cubicBezTo>
                <a:cubicBezTo>
                  <a:pt x="430" y="31"/>
                  <a:pt x="430" y="31"/>
                  <a:pt x="430" y="31"/>
                </a:cubicBezTo>
                <a:cubicBezTo>
                  <a:pt x="430" y="33"/>
                  <a:pt x="430" y="33"/>
                  <a:pt x="430" y="33"/>
                </a:cubicBezTo>
                <a:cubicBezTo>
                  <a:pt x="423" y="33"/>
                  <a:pt x="423" y="33"/>
                  <a:pt x="423" y="33"/>
                </a:cubicBezTo>
                <a:cubicBezTo>
                  <a:pt x="423" y="33"/>
                  <a:pt x="426" y="30"/>
                  <a:pt x="424" y="29"/>
                </a:cubicBezTo>
                <a:cubicBezTo>
                  <a:pt x="422" y="28"/>
                  <a:pt x="414" y="29"/>
                  <a:pt x="414" y="29"/>
                </a:cubicBezTo>
                <a:cubicBezTo>
                  <a:pt x="407" y="29"/>
                  <a:pt x="407" y="29"/>
                  <a:pt x="407" y="29"/>
                </a:cubicBezTo>
                <a:cubicBezTo>
                  <a:pt x="407" y="29"/>
                  <a:pt x="415" y="28"/>
                  <a:pt x="414" y="27"/>
                </a:cubicBezTo>
                <a:cubicBezTo>
                  <a:pt x="413" y="25"/>
                  <a:pt x="405" y="25"/>
                  <a:pt x="405" y="25"/>
                </a:cubicBezTo>
                <a:cubicBezTo>
                  <a:pt x="401" y="25"/>
                  <a:pt x="401" y="25"/>
                  <a:pt x="401" y="25"/>
                </a:cubicBezTo>
                <a:cubicBezTo>
                  <a:pt x="400" y="26"/>
                  <a:pt x="400" y="26"/>
                  <a:pt x="400" y="26"/>
                </a:cubicBezTo>
                <a:cubicBezTo>
                  <a:pt x="400" y="26"/>
                  <a:pt x="392" y="26"/>
                  <a:pt x="393" y="28"/>
                </a:cubicBezTo>
                <a:cubicBezTo>
                  <a:pt x="394" y="30"/>
                  <a:pt x="401" y="33"/>
                  <a:pt x="401" y="33"/>
                </a:cubicBezTo>
                <a:cubicBezTo>
                  <a:pt x="386" y="32"/>
                  <a:pt x="386" y="32"/>
                  <a:pt x="386" y="32"/>
                </a:cubicBezTo>
                <a:cubicBezTo>
                  <a:pt x="391" y="34"/>
                  <a:pt x="391" y="34"/>
                  <a:pt x="391" y="34"/>
                </a:cubicBezTo>
                <a:cubicBezTo>
                  <a:pt x="385" y="35"/>
                  <a:pt x="385" y="35"/>
                  <a:pt x="385" y="35"/>
                </a:cubicBezTo>
                <a:cubicBezTo>
                  <a:pt x="385" y="35"/>
                  <a:pt x="376" y="38"/>
                  <a:pt x="375" y="37"/>
                </a:cubicBezTo>
                <a:cubicBezTo>
                  <a:pt x="373" y="36"/>
                  <a:pt x="376" y="34"/>
                  <a:pt x="376" y="34"/>
                </a:cubicBezTo>
                <a:cubicBezTo>
                  <a:pt x="376" y="34"/>
                  <a:pt x="368" y="34"/>
                  <a:pt x="366" y="34"/>
                </a:cubicBezTo>
                <a:cubicBezTo>
                  <a:pt x="365" y="35"/>
                  <a:pt x="363" y="37"/>
                  <a:pt x="363" y="37"/>
                </a:cubicBezTo>
                <a:cubicBezTo>
                  <a:pt x="363" y="37"/>
                  <a:pt x="352" y="37"/>
                  <a:pt x="350" y="38"/>
                </a:cubicBezTo>
                <a:cubicBezTo>
                  <a:pt x="348" y="38"/>
                  <a:pt x="342" y="39"/>
                  <a:pt x="342" y="39"/>
                </a:cubicBezTo>
                <a:cubicBezTo>
                  <a:pt x="337" y="43"/>
                  <a:pt x="337" y="43"/>
                  <a:pt x="337" y="43"/>
                </a:cubicBezTo>
                <a:cubicBezTo>
                  <a:pt x="337" y="43"/>
                  <a:pt x="332" y="43"/>
                  <a:pt x="335" y="45"/>
                </a:cubicBezTo>
                <a:cubicBezTo>
                  <a:pt x="337" y="47"/>
                  <a:pt x="341" y="49"/>
                  <a:pt x="341" y="49"/>
                </a:cubicBezTo>
                <a:cubicBezTo>
                  <a:pt x="336" y="50"/>
                  <a:pt x="336" y="50"/>
                  <a:pt x="336" y="50"/>
                </a:cubicBezTo>
                <a:cubicBezTo>
                  <a:pt x="334" y="51"/>
                  <a:pt x="334" y="51"/>
                  <a:pt x="334" y="51"/>
                </a:cubicBezTo>
                <a:cubicBezTo>
                  <a:pt x="323" y="51"/>
                  <a:pt x="323" y="51"/>
                  <a:pt x="323" y="51"/>
                </a:cubicBezTo>
                <a:cubicBezTo>
                  <a:pt x="322" y="52"/>
                  <a:pt x="322" y="52"/>
                  <a:pt x="322" y="52"/>
                </a:cubicBezTo>
                <a:cubicBezTo>
                  <a:pt x="318" y="50"/>
                  <a:pt x="318" y="50"/>
                  <a:pt x="318" y="50"/>
                </a:cubicBezTo>
                <a:cubicBezTo>
                  <a:pt x="316" y="52"/>
                  <a:pt x="316" y="52"/>
                  <a:pt x="316" y="52"/>
                </a:cubicBezTo>
                <a:cubicBezTo>
                  <a:pt x="316" y="52"/>
                  <a:pt x="310" y="51"/>
                  <a:pt x="310" y="52"/>
                </a:cubicBezTo>
                <a:cubicBezTo>
                  <a:pt x="310" y="53"/>
                  <a:pt x="310" y="56"/>
                  <a:pt x="312" y="56"/>
                </a:cubicBezTo>
                <a:cubicBezTo>
                  <a:pt x="313" y="57"/>
                  <a:pt x="314" y="59"/>
                  <a:pt x="314" y="59"/>
                </a:cubicBezTo>
                <a:cubicBezTo>
                  <a:pt x="314" y="59"/>
                  <a:pt x="320" y="61"/>
                  <a:pt x="321" y="61"/>
                </a:cubicBezTo>
                <a:cubicBezTo>
                  <a:pt x="323" y="61"/>
                  <a:pt x="326" y="62"/>
                  <a:pt x="327" y="62"/>
                </a:cubicBezTo>
                <a:cubicBezTo>
                  <a:pt x="328" y="63"/>
                  <a:pt x="331" y="65"/>
                  <a:pt x="329" y="65"/>
                </a:cubicBezTo>
                <a:cubicBezTo>
                  <a:pt x="327" y="65"/>
                  <a:pt x="323" y="66"/>
                  <a:pt x="323" y="66"/>
                </a:cubicBezTo>
                <a:cubicBezTo>
                  <a:pt x="323" y="66"/>
                  <a:pt x="316" y="62"/>
                  <a:pt x="313" y="62"/>
                </a:cubicBezTo>
                <a:cubicBezTo>
                  <a:pt x="311" y="61"/>
                  <a:pt x="307" y="60"/>
                  <a:pt x="306" y="60"/>
                </a:cubicBezTo>
                <a:cubicBezTo>
                  <a:pt x="304" y="60"/>
                  <a:pt x="301" y="60"/>
                  <a:pt x="301" y="61"/>
                </a:cubicBezTo>
                <a:cubicBezTo>
                  <a:pt x="301" y="63"/>
                  <a:pt x="306" y="64"/>
                  <a:pt x="303" y="64"/>
                </a:cubicBezTo>
                <a:cubicBezTo>
                  <a:pt x="300" y="65"/>
                  <a:pt x="299" y="63"/>
                  <a:pt x="298" y="63"/>
                </a:cubicBezTo>
                <a:cubicBezTo>
                  <a:pt x="296" y="63"/>
                  <a:pt x="294" y="61"/>
                  <a:pt x="294" y="63"/>
                </a:cubicBezTo>
                <a:cubicBezTo>
                  <a:pt x="293" y="65"/>
                  <a:pt x="296" y="67"/>
                  <a:pt x="298" y="67"/>
                </a:cubicBezTo>
                <a:cubicBezTo>
                  <a:pt x="300" y="67"/>
                  <a:pt x="304" y="68"/>
                  <a:pt x="306" y="68"/>
                </a:cubicBezTo>
                <a:cubicBezTo>
                  <a:pt x="307" y="68"/>
                  <a:pt x="310" y="71"/>
                  <a:pt x="310" y="71"/>
                </a:cubicBezTo>
                <a:cubicBezTo>
                  <a:pt x="307" y="71"/>
                  <a:pt x="307" y="71"/>
                  <a:pt x="307" y="71"/>
                </a:cubicBezTo>
                <a:cubicBezTo>
                  <a:pt x="307" y="71"/>
                  <a:pt x="306" y="69"/>
                  <a:pt x="303" y="69"/>
                </a:cubicBezTo>
                <a:cubicBezTo>
                  <a:pt x="301" y="69"/>
                  <a:pt x="294" y="69"/>
                  <a:pt x="294" y="69"/>
                </a:cubicBezTo>
                <a:cubicBezTo>
                  <a:pt x="294" y="68"/>
                  <a:pt x="294" y="68"/>
                  <a:pt x="294" y="68"/>
                </a:cubicBezTo>
                <a:cubicBezTo>
                  <a:pt x="291" y="68"/>
                  <a:pt x="291" y="68"/>
                  <a:pt x="291" y="68"/>
                </a:cubicBezTo>
                <a:cubicBezTo>
                  <a:pt x="291" y="66"/>
                  <a:pt x="291" y="66"/>
                  <a:pt x="291" y="66"/>
                </a:cubicBezTo>
                <a:cubicBezTo>
                  <a:pt x="287" y="64"/>
                  <a:pt x="287" y="64"/>
                  <a:pt x="287" y="64"/>
                </a:cubicBezTo>
                <a:cubicBezTo>
                  <a:pt x="287" y="64"/>
                  <a:pt x="291" y="62"/>
                  <a:pt x="289" y="61"/>
                </a:cubicBezTo>
                <a:cubicBezTo>
                  <a:pt x="288" y="59"/>
                  <a:pt x="285" y="57"/>
                  <a:pt x="285" y="57"/>
                </a:cubicBezTo>
                <a:cubicBezTo>
                  <a:pt x="282" y="57"/>
                  <a:pt x="282" y="57"/>
                  <a:pt x="282" y="57"/>
                </a:cubicBezTo>
                <a:cubicBezTo>
                  <a:pt x="282" y="57"/>
                  <a:pt x="287" y="60"/>
                  <a:pt x="285" y="61"/>
                </a:cubicBezTo>
                <a:cubicBezTo>
                  <a:pt x="284" y="63"/>
                  <a:pt x="281" y="63"/>
                  <a:pt x="281" y="63"/>
                </a:cubicBezTo>
                <a:cubicBezTo>
                  <a:pt x="279" y="67"/>
                  <a:pt x="279" y="67"/>
                  <a:pt x="279" y="67"/>
                </a:cubicBezTo>
                <a:cubicBezTo>
                  <a:pt x="287" y="71"/>
                  <a:pt x="287" y="71"/>
                  <a:pt x="287" y="71"/>
                </a:cubicBezTo>
                <a:cubicBezTo>
                  <a:pt x="287" y="71"/>
                  <a:pt x="289" y="71"/>
                  <a:pt x="289" y="72"/>
                </a:cubicBezTo>
                <a:cubicBezTo>
                  <a:pt x="289" y="73"/>
                  <a:pt x="288" y="78"/>
                  <a:pt x="288" y="78"/>
                </a:cubicBezTo>
                <a:cubicBezTo>
                  <a:pt x="289" y="80"/>
                  <a:pt x="289" y="80"/>
                  <a:pt x="289" y="80"/>
                </a:cubicBezTo>
                <a:cubicBezTo>
                  <a:pt x="293" y="80"/>
                  <a:pt x="293" y="80"/>
                  <a:pt x="293" y="80"/>
                </a:cubicBezTo>
                <a:cubicBezTo>
                  <a:pt x="292" y="83"/>
                  <a:pt x="292" y="83"/>
                  <a:pt x="292" y="83"/>
                </a:cubicBezTo>
                <a:cubicBezTo>
                  <a:pt x="299" y="85"/>
                  <a:pt x="299" y="85"/>
                  <a:pt x="299" y="85"/>
                </a:cubicBezTo>
                <a:cubicBezTo>
                  <a:pt x="299" y="85"/>
                  <a:pt x="304" y="83"/>
                  <a:pt x="306" y="83"/>
                </a:cubicBezTo>
                <a:cubicBezTo>
                  <a:pt x="308" y="83"/>
                  <a:pt x="311" y="85"/>
                  <a:pt x="311" y="85"/>
                </a:cubicBezTo>
                <a:cubicBezTo>
                  <a:pt x="311" y="85"/>
                  <a:pt x="316" y="85"/>
                  <a:pt x="318" y="87"/>
                </a:cubicBezTo>
                <a:cubicBezTo>
                  <a:pt x="320" y="88"/>
                  <a:pt x="321" y="90"/>
                  <a:pt x="321" y="90"/>
                </a:cubicBezTo>
                <a:cubicBezTo>
                  <a:pt x="321" y="90"/>
                  <a:pt x="315" y="91"/>
                  <a:pt x="317" y="92"/>
                </a:cubicBezTo>
                <a:cubicBezTo>
                  <a:pt x="319" y="93"/>
                  <a:pt x="322" y="95"/>
                  <a:pt x="322" y="95"/>
                </a:cubicBezTo>
                <a:cubicBezTo>
                  <a:pt x="326" y="94"/>
                  <a:pt x="326" y="94"/>
                  <a:pt x="326" y="94"/>
                </a:cubicBezTo>
                <a:cubicBezTo>
                  <a:pt x="326" y="94"/>
                  <a:pt x="324" y="96"/>
                  <a:pt x="321" y="96"/>
                </a:cubicBezTo>
                <a:cubicBezTo>
                  <a:pt x="319" y="96"/>
                  <a:pt x="317" y="94"/>
                  <a:pt x="317" y="94"/>
                </a:cubicBezTo>
                <a:cubicBezTo>
                  <a:pt x="317" y="94"/>
                  <a:pt x="317" y="91"/>
                  <a:pt x="315" y="89"/>
                </a:cubicBezTo>
                <a:cubicBezTo>
                  <a:pt x="312" y="88"/>
                  <a:pt x="310" y="87"/>
                  <a:pt x="310" y="87"/>
                </a:cubicBezTo>
                <a:cubicBezTo>
                  <a:pt x="310" y="87"/>
                  <a:pt x="310" y="84"/>
                  <a:pt x="308" y="85"/>
                </a:cubicBezTo>
                <a:cubicBezTo>
                  <a:pt x="306" y="85"/>
                  <a:pt x="300" y="86"/>
                  <a:pt x="300" y="86"/>
                </a:cubicBezTo>
                <a:cubicBezTo>
                  <a:pt x="300" y="86"/>
                  <a:pt x="298" y="86"/>
                  <a:pt x="298" y="88"/>
                </a:cubicBezTo>
                <a:cubicBezTo>
                  <a:pt x="298" y="90"/>
                  <a:pt x="303" y="92"/>
                  <a:pt x="303" y="93"/>
                </a:cubicBezTo>
                <a:cubicBezTo>
                  <a:pt x="303" y="94"/>
                  <a:pt x="300" y="96"/>
                  <a:pt x="300" y="96"/>
                </a:cubicBezTo>
                <a:cubicBezTo>
                  <a:pt x="300" y="100"/>
                  <a:pt x="300" y="100"/>
                  <a:pt x="300" y="100"/>
                </a:cubicBezTo>
                <a:cubicBezTo>
                  <a:pt x="295" y="103"/>
                  <a:pt x="295" y="103"/>
                  <a:pt x="295" y="103"/>
                </a:cubicBezTo>
                <a:cubicBezTo>
                  <a:pt x="295" y="103"/>
                  <a:pt x="294" y="106"/>
                  <a:pt x="292" y="105"/>
                </a:cubicBezTo>
                <a:cubicBezTo>
                  <a:pt x="290" y="104"/>
                  <a:pt x="286" y="104"/>
                  <a:pt x="286" y="104"/>
                </a:cubicBezTo>
                <a:cubicBezTo>
                  <a:pt x="280" y="104"/>
                  <a:pt x="280" y="104"/>
                  <a:pt x="280" y="104"/>
                </a:cubicBezTo>
                <a:cubicBezTo>
                  <a:pt x="280" y="104"/>
                  <a:pt x="273" y="101"/>
                  <a:pt x="275" y="101"/>
                </a:cubicBezTo>
                <a:cubicBezTo>
                  <a:pt x="276" y="101"/>
                  <a:pt x="280" y="101"/>
                  <a:pt x="280" y="101"/>
                </a:cubicBezTo>
                <a:cubicBezTo>
                  <a:pt x="282" y="102"/>
                  <a:pt x="282" y="102"/>
                  <a:pt x="282" y="102"/>
                </a:cubicBezTo>
                <a:cubicBezTo>
                  <a:pt x="285" y="100"/>
                  <a:pt x="285" y="100"/>
                  <a:pt x="285" y="100"/>
                </a:cubicBezTo>
                <a:cubicBezTo>
                  <a:pt x="285" y="100"/>
                  <a:pt x="291" y="101"/>
                  <a:pt x="291" y="99"/>
                </a:cubicBezTo>
                <a:cubicBezTo>
                  <a:pt x="291" y="98"/>
                  <a:pt x="291" y="95"/>
                  <a:pt x="291" y="95"/>
                </a:cubicBezTo>
                <a:cubicBezTo>
                  <a:pt x="294" y="94"/>
                  <a:pt x="294" y="94"/>
                  <a:pt x="294" y="94"/>
                </a:cubicBezTo>
                <a:cubicBezTo>
                  <a:pt x="294" y="92"/>
                  <a:pt x="294" y="92"/>
                  <a:pt x="294" y="92"/>
                </a:cubicBezTo>
                <a:cubicBezTo>
                  <a:pt x="292" y="92"/>
                  <a:pt x="292" y="92"/>
                  <a:pt x="292" y="92"/>
                </a:cubicBezTo>
                <a:cubicBezTo>
                  <a:pt x="292" y="92"/>
                  <a:pt x="295" y="89"/>
                  <a:pt x="293" y="88"/>
                </a:cubicBezTo>
                <a:cubicBezTo>
                  <a:pt x="291" y="87"/>
                  <a:pt x="285" y="88"/>
                  <a:pt x="284" y="85"/>
                </a:cubicBezTo>
                <a:cubicBezTo>
                  <a:pt x="284" y="82"/>
                  <a:pt x="284" y="79"/>
                  <a:pt x="283" y="79"/>
                </a:cubicBezTo>
                <a:cubicBezTo>
                  <a:pt x="281" y="78"/>
                  <a:pt x="279" y="75"/>
                  <a:pt x="279" y="75"/>
                </a:cubicBezTo>
                <a:cubicBezTo>
                  <a:pt x="279" y="71"/>
                  <a:pt x="279" y="71"/>
                  <a:pt x="279" y="71"/>
                </a:cubicBezTo>
                <a:cubicBezTo>
                  <a:pt x="272" y="68"/>
                  <a:pt x="272" y="68"/>
                  <a:pt x="272" y="68"/>
                </a:cubicBezTo>
                <a:cubicBezTo>
                  <a:pt x="272" y="68"/>
                  <a:pt x="276" y="64"/>
                  <a:pt x="274" y="61"/>
                </a:cubicBezTo>
                <a:cubicBezTo>
                  <a:pt x="272" y="58"/>
                  <a:pt x="266" y="58"/>
                  <a:pt x="266" y="58"/>
                </a:cubicBezTo>
                <a:cubicBezTo>
                  <a:pt x="252" y="56"/>
                  <a:pt x="252" y="56"/>
                  <a:pt x="252" y="56"/>
                </a:cubicBezTo>
                <a:cubicBezTo>
                  <a:pt x="251" y="60"/>
                  <a:pt x="251" y="60"/>
                  <a:pt x="251" y="60"/>
                </a:cubicBezTo>
                <a:cubicBezTo>
                  <a:pt x="253" y="61"/>
                  <a:pt x="253" y="61"/>
                  <a:pt x="253" y="61"/>
                </a:cubicBezTo>
                <a:cubicBezTo>
                  <a:pt x="252" y="65"/>
                  <a:pt x="252" y="65"/>
                  <a:pt x="252" y="65"/>
                </a:cubicBezTo>
                <a:cubicBezTo>
                  <a:pt x="246" y="68"/>
                  <a:pt x="246" y="68"/>
                  <a:pt x="246" y="68"/>
                </a:cubicBezTo>
                <a:cubicBezTo>
                  <a:pt x="245" y="71"/>
                  <a:pt x="245" y="71"/>
                  <a:pt x="245" y="71"/>
                </a:cubicBezTo>
                <a:cubicBezTo>
                  <a:pt x="248" y="71"/>
                  <a:pt x="248" y="71"/>
                  <a:pt x="248" y="71"/>
                </a:cubicBezTo>
                <a:cubicBezTo>
                  <a:pt x="252" y="77"/>
                  <a:pt x="252" y="77"/>
                  <a:pt x="252" y="77"/>
                </a:cubicBezTo>
                <a:cubicBezTo>
                  <a:pt x="250" y="79"/>
                  <a:pt x="250" y="79"/>
                  <a:pt x="250" y="79"/>
                </a:cubicBezTo>
                <a:cubicBezTo>
                  <a:pt x="254" y="81"/>
                  <a:pt x="254" y="81"/>
                  <a:pt x="254" y="81"/>
                </a:cubicBezTo>
                <a:cubicBezTo>
                  <a:pt x="257" y="80"/>
                  <a:pt x="257" y="80"/>
                  <a:pt x="257" y="80"/>
                </a:cubicBezTo>
                <a:cubicBezTo>
                  <a:pt x="257" y="80"/>
                  <a:pt x="260" y="84"/>
                  <a:pt x="262" y="84"/>
                </a:cubicBezTo>
                <a:cubicBezTo>
                  <a:pt x="264" y="85"/>
                  <a:pt x="266" y="85"/>
                  <a:pt x="266" y="85"/>
                </a:cubicBezTo>
                <a:cubicBezTo>
                  <a:pt x="266" y="91"/>
                  <a:pt x="266" y="91"/>
                  <a:pt x="266" y="91"/>
                </a:cubicBezTo>
                <a:cubicBezTo>
                  <a:pt x="264" y="88"/>
                  <a:pt x="264" y="88"/>
                  <a:pt x="264" y="88"/>
                </a:cubicBezTo>
                <a:cubicBezTo>
                  <a:pt x="262" y="89"/>
                  <a:pt x="262" y="89"/>
                  <a:pt x="262" y="89"/>
                </a:cubicBezTo>
                <a:cubicBezTo>
                  <a:pt x="262" y="89"/>
                  <a:pt x="254" y="85"/>
                  <a:pt x="251" y="84"/>
                </a:cubicBezTo>
                <a:cubicBezTo>
                  <a:pt x="249" y="84"/>
                  <a:pt x="245" y="84"/>
                  <a:pt x="245" y="84"/>
                </a:cubicBezTo>
                <a:cubicBezTo>
                  <a:pt x="243" y="82"/>
                  <a:pt x="243" y="82"/>
                  <a:pt x="243" y="82"/>
                </a:cubicBezTo>
                <a:cubicBezTo>
                  <a:pt x="242" y="85"/>
                  <a:pt x="242" y="85"/>
                  <a:pt x="242" y="85"/>
                </a:cubicBezTo>
                <a:cubicBezTo>
                  <a:pt x="239" y="82"/>
                  <a:pt x="239" y="82"/>
                  <a:pt x="239" y="82"/>
                </a:cubicBezTo>
                <a:cubicBezTo>
                  <a:pt x="239" y="82"/>
                  <a:pt x="233" y="79"/>
                  <a:pt x="231" y="79"/>
                </a:cubicBezTo>
                <a:cubicBezTo>
                  <a:pt x="230" y="79"/>
                  <a:pt x="227" y="80"/>
                  <a:pt x="227" y="80"/>
                </a:cubicBezTo>
                <a:cubicBezTo>
                  <a:pt x="227" y="80"/>
                  <a:pt x="219" y="79"/>
                  <a:pt x="218" y="79"/>
                </a:cubicBezTo>
                <a:cubicBezTo>
                  <a:pt x="218" y="80"/>
                  <a:pt x="216" y="80"/>
                  <a:pt x="216" y="81"/>
                </a:cubicBezTo>
                <a:cubicBezTo>
                  <a:pt x="216" y="82"/>
                  <a:pt x="220" y="84"/>
                  <a:pt x="220" y="84"/>
                </a:cubicBezTo>
                <a:cubicBezTo>
                  <a:pt x="218" y="88"/>
                  <a:pt x="218" y="88"/>
                  <a:pt x="218" y="88"/>
                </a:cubicBezTo>
                <a:cubicBezTo>
                  <a:pt x="217" y="86"/>
                  <a:pt x="217" y="86"/>
                  <a:pt x="217" y="86"/>
                </a:cubicBezTo>
                <a:cubicBezTo>
                  <a:pt x="217" y="89"/>
                  <a:pt x="217" y="89"/>
                  <a:pt x="217" y="89"/>
                </a:cubicBezTo>
                <a:cubicBezTo>
                  <a:pt x="217" y="89"/>
                  <a:pt x="213" y="89"/>
                  <a:pt x="213" y="88"/>
                </a:cubicBezTo>
                <a:cubicBezTo>
                  <a:pt x="213" y="88"/>
                  <a:pt x="214" y="84"/>
                  <a:pt x="212" y="84"/>
                </a:cubicBezTo>
                <a:cubicBezTo>
                  <a:pt x="209" y="84"/>
                  <a:pt x="204" y="88"/>
                  <a:pt x="203" y="88"/>
                </a:cubicBezTo>
                <a:cubicBezTo>
                  <a:pt x="202" y="89"/>
                  <a:pt x="200" y="87"/>
                  <a:pt x="197" y="87"/>
                </a:cubicBezTo>
                <a:cubicBezTo>
                  <a:pt x="193" y="87"/>
                  <a:pt x="189" y="89"/>
                  <a:pt x="189" y="90"/>
                </a:cubicBezTo>
                <a:cubicBezTo>
                  <a:pt x="189" y="92"/>
                  <a:pt x="181" y="91"/>
                  <a:pt x="181" y="91"/>
                </a:cubicBezTo>
                <a:cubicBezTo>
                  <a:pt x="182" y="88"/>
                  <a:pt x="182" y="88"/>
                  <a:pt x="182" y="88"/>
                </a:cubicBezTo>
                <a:cubicBezTo>
                  <a:pt x="182" y="84"/>
                  <a:pt x="182" y="84"/>
                  <a:pt x="182" y="84"/>
                </a:cubicBezTo>
                <a:cubicBezTo>
                  <a:pt x="182" y="84"/>
                  <a:pt x="175" y="86"/>
                  <a:pt x="175" y="87"/>
                </a:cubicBezTo>
                <a:cubicBezTo>
                  <a:pt x="175" y="89"/>
                  <a:pt x="176" y="90"/>
                  <a:pt x="176" y="90"/>
                </a:cubicBezTo>
                <a:cubicBezTo>
                  <a:pt x="173" y="90"/>
                  <a:pt x="173" y="90"/>
                  <a:pt x="173" y="90"/>
                </a:cubicBezTo>
                <a:cubicBezTo>
                  <a:pt x="173" y="88"/>
                  <a:pt x="173" y="88"/>
                  <a:pt x="173" y="88"/>
                </a:cubicBezTo>
                <a:cubicBezTo>
                  <a:pt x="171" y="88"/>
                  <a:pt x="171" y="88"/>
                  <a:pt x="171" y="88"/>
                </a:cubicBezTo>
                <a:cubicBezTo>
                  <a:pt x="165" y="89"/>
                  <a:pt x="165" y="89"/>
                  <a:pt x="165" y="89"/>
                </a:cubicBezTo>
                <a:cubicBezTo>
                  <a:pt x="161" y="92"/>
                  <a:pt x="161" y="92"/>
                  <a:pt x="161" y="92"/>
                </a:cubicBezTo>
                <a:cubicBezTo>
                  <a:pt x="155" y="92"/>
                  <a:pt x="155" y="92"/>
                  <a:pt x="155" y="92"/>
                </a:cubicBezTo>
                <a:cubicBezTo>
                  <a:pt x="156" y="95"/>
                  <a:pt x="156" y="95"/>
                  <a:pt x="156" y="95"/>
                </a:cubicBezTo>
                <a:cubicBezTo>
                  <a:pt x="156" y="95"/>
                  <a:pt x="152" y="94"/>
                  <a:pt x="152" y="95"/>
                </a:cubicBezTo>
                <a:cubicBezTo>
                  <a:pt x="151" y="97"/>
                  <a:pt x="152" y="100"/>
                  <a:pt x="152" y="100"/>
                </a:cubicBezTo>
                <a:cubicBezTo>
                  <a:pt x="143" y="101"/>
                  <a:pt x="143" y="101"/>
                  <a:pt x="143" y="101"/>
                </a:cubicBezTo>
                <a:cubicBezTo>
                  <a:pt x="143" y="101"/>
                  <a:pt x="141" y="99"/>
                  <a:pt x="140" y="99"/>
                </a:cubicBezTo>
                <a:cubicBezTo>
                  <a:pt x="140" y="98"/>
                  <a:pt x="136" y="99"/>
                  <a:pt x="136" y="97"/>
                </a:cubicBezTo>
                <a:cubicBezTo>
                  <a:pt x="136" y="95"/>
                  <a:pt x="136" y="92"/>
                  <a:pt x="139" y="93"/>
                </a:cubicBezTo>
                <a:cubicBezTo>
                  <a:pt x="141" y="94"/>
                  <a:pt x="145" y="93"/>
                  <a:pt x="145" y="93"/>
                </a:cubicBezTo>
                <a:cubicBezTo>
                  <a:pt x="145" y="93"/>
                  <a:pt x="139" y="88"/>
                  <a:pt x="138" y="88"/>
                </a:cubicBezTo>
                <a:cubicBezTo>
                  <a:pt x="137" y="87"/>
                  <a:pt x="125" y="87"/>
                  <a:pt x="125" y="87"/>
                </a:cubicBezTo>
                <a:cubicBezTo>
                  <a:pt x="126" y="89"/>
                  <a:pt x="126" y="89"/>
                  <a:pt x="126" y="89"/>
                </a:cubicBezTo>
                <a:cubicBezTo>
                  <a:pt x="126" y="89"/>
                  <a:pt x="131" y="88"/>
                  <a:pt x="130" y="91"/>
                </a:cubicBezTo>
                <a:cubicBezTo>
                  <a:pt x="129" y="94"/>
                  <a:pt x="127" y="99"/>
                  <a:pt x="128" y="99"/>
                </a:cubicBezTo>
                <a:cubicBezTo>
                  <a:pt x="130" y="99"/>
                  <a:pt x="134" y="100"/>
                  <a:pt x="134" y="100"/>
                </a:cubicBezTo>
                <a:cubicBezTo>
                  <a:pt x="134" y="104"/>
                  <a:pt x="134" y="104"/>
                  <a:pt x="134" y="104"/>
                </a:cubicBezTo>
                <a:cubicBezTo>
                  <a:pt x="134" y="107"/>
                  <a:pt x="134" y="107"/>
                  <a:pt x="134" y="107"/>
                </a:cubicBezTo>
                <a:cubicBezTo>
                  <a:pt x="131" y="105"/>
                  <a:pt x="131" y="105"/>
                  <a:pt x="131" y="105"/>
                </a:cubicBezTo>
                <a:cubicBezTo>
                  <a:pt x="129" y="108"/>
                  <a:pt x="129" y="108"/>
                  <a:pt x="129" y="108"/>
                </a:cubicBezTo>
                <a:cubicBezTo>
                  <a:pt x="128" y="104"/>
                  <a:pt x="128" y="104"/>
                  <a:pt x="128" y="104"/>
                </a:cubicBezTo>
                <a:cubicBezTo>
                  <a:pt x="121" y="102"/>
                  <a:pt x="121" y="102"/>
                  <a:pt x="121" y="102"/>
                </a:cubicBezTo>
                <a:cubicBezTo>
                  <a:pt x="118" y="106"/>
                  <a:pt x="118" y="106"/>
                  <a:pt x="118" y="106"/>
                </a:cubicBezTo>
                <a:cubicBezTo>
                  <a:pt x="115" y="107"/>
                  <a:pt x="115" y="107"/>
                  <a:pt x="115" y="107"/>
                </a:cubicBezTo>
                <a:cubicBezTo>
                  <a:pt x="115" y="107"/>
                  <a:pt x="114" y="108"/>
                  <a:pt x="112" y="109"/>
                </a:cubicBezTo>
                <a:cubicBezTo>
                  <a:pt x="110" y="110"/>
                  <a:pt x="107" y="110"/>
                  <a:pt x="108" y="111"/>
                </a:cubicBezTo>
                <a:cubicBezTo>
                  <a:pt x="110" y="113"/>
                  <a:pt x="115" y="116"/>
                  <a:pt x="115" y="116"/>
                </a:cubicBezTo>
                <a:cubicBezTo>
                  <a:pt x="117" y="119"/>
                  <a:pt x="117" y="119"/>
                  <a:pt x="117" y="119"/>
                </a:cubicBezTo>
                <a:cubicBezTo>
                  <a:pt x="114" y="118"/>
                  <a:pt x="114" y="118"/>
                  <a:pt x="114" y="118"/>
                </a:cubicBezTo>
                <a:cubicBezTo>
                  <a:pt x="114" y="118"/>
                  <a:pt x="111" y="119"/>
                  <a:pt x="109" y="118"/>
                </a:cubicBezTo>
                <a:cubicBezTo>
                  <a:pt x="107" y="117"/>
                  <a:pt x="100" y="116"/>
                  <a:pt x="100" y="116"/>
                </a:cubicBezTo>
                <a:cubicBezTo>
                  <a:pt x="100" y="116"/>
                  <a:pt x="99" y="112"/>
                  <a:pt x="96" y="113"/>
                </a:cubicBezTo>
                <a:cubicBezTo>
                  <a:pt x="94" y="114"/>
                  <a:pt x="92" y="115"/>
                  <a:pt x="92" y="115"/>
                </a:cubicBezTo>
                <a:cubicBezTo>
                  <a:pt x="91" y="115"/>
                  <a:pt x="91" y="115"/>
                  <a:pt x="91" y="115"/>
                </a:cubicBezTo>
                <a:cubicBezTo>
                  <a:pt x="95" y="119"/>
                  <a:pt x="95" y="119"/>
                  <a:pt x="95" y="119"/>
                </a:cubicBezTo>
                <a:cubicBezTo>
                  <a:pt x="95" y="119"/>
                  <a:pt x="102" y="120"/>
                  <a:pt x="102" y="121"/>
                </a:cubicBezTo>
                <a:cubicBezTo>
                  <a:pt x="102" y="122"/>
                  <a:pt x="99" y="124"/>
                  <a:pt x="99" y="124"/>
                </a:cubicBezTo>
                <a:cubicBezTo>
                  <a:pt x="92" y="122"/>
                  <a:pt x="92" y="122"/>
                  <a:pt x="92" y="122"/>
                </a:cubicBezTo>
                <a:cubicBezTo>
                  <a:pt x="92" y="122"/>
                  <a:pt x="90" y="120"/>
                  <a:pt x="88" y="120"/>
                </a:cubicBezTo>
                <a:cubicBezTo>
                  <a:pt x="86" y="119"/>
                  <a:pt x="82" y="121"/>
                  <a:pt x="82" y="119"/>
                </a:cubicBezTo>
                <a:cubicBezTo>
                  <a:pt x="82" y="117"/>
                  <a:pt x="82" y="114"/>
                  <a:pt x="82" y="114"/>
                </a:cubicBezTo>
                <a:cubicBezTo>
                  <a:pt x="80" y="113"/>
                  <a:pt x="80" y="113"/>
                  <a:pt x="80" y="113"/>
                </a:cubicBezTo>
                <a:cubicBezTo>
                  <a:pt x="80" y="113"/>
                  <a:pt x="83" y="110"/>
                  <a:pt x="82" y="108"/>
                </a:cubicBezTo>
                <a:cubicBezTo>
                  <a:pt x="81" y="107"/>
                  <a:pt x="71" y="105"/>
                  <a:pt x="71" y="105"/>
                </a:cubicBezTo>
                <a:cubicBezTo>
                  <a:pt x="68" y="102"/>
                  <a:pt x="68" y="102"/>
                  <a:pt x="68" y="102"/>
                </a:cubicBezTo>
                <a:cubicBezTo>
                  <a:pt x="66" y="100"/>
                  <a:pt x="66" y="100"/>
                  <a:pt x="66" y="100"/>
                </a:cubicBezTo>
                <a:cubicBezTo>
                  <a:pt x="64" y="99"/>
                  <a:pt x="64" y="99"/>
                  <a:pt x="64" y="99"/>
                </a:cubicBezTo>
                <a:cubicBezTo>
                  <a:pt x="68" y="99"/>
                  <a:pt x="68" y="99"/>
                  <a:pt x="68" y="99"/>
                </a:cubicBezTo>
                <a:cubicBezTo>
                  <a:pt x="68" y="99"/>
                  <a:pt x="68" y="100"/>
                  <a:pt x="71" y="101"/>
                </a:cubicBezTo>
                <a:cubicBezTo>
                  <a:pt x="74" y="101"/>
                  <a:pt x="78" y="101"/>
                  <a:pt x="78" y="101"/>
                </a:cubicBezTo>
                <a:cubicBezTo>
                  <a:pt x="78" y="101"/>
                  <a:pt x="80" y="104"/>
                  <a:pt x="82" y="104"/>
                </a:cubicBezTo>
                <a:cubicBezTo>
                  <a:pt x="84" y="104"/>
                  <a:pt x="93" y="105"/>
                  <a:pt x="93" y="105"/>
                </a:cubicBezTo>
                <a:cubicBezTo>
                  <a:pt x="93" y="105"/>
                  <a:pt x="99" y="108"/>
                  <a:pt x="106" y="106"/>
                </a:cubicBezTo>
                <a:cubicBezTo>
                  <a:pt x="113" y="104"/>
                  <a:pt x="119" y="102"/>
                  <a:pt x="116" y="99"/>
                </a:cubicBezTo>
                <a:cubicBezTo>
                  <a:pt x="112" y="95"/>
                  <a:pt x="112" y="93"/>
                  <a:pt x="107" y="92"/>
                </a:cubicBezTo>
                <a:cubicBezTo>
                  <a:pt x="103" y="91"/>
                  <a:pt x="96" y="89"/>
                  <a:pt x="93" y="88"/>
                </a:cubicBezTo>
                <a:cubicBezTo>
                  <a:pt x="90" y="87"/>
                  <a:pt x="85" y="84"/>
                  <a:pt x="82" y="84"/>
                </a:cubicBezTo>
                <a:cubicBezTo>
                  <a:pt x="78" y="84"/>
                  <a:pt x="75" y="84"/>
                  <a:pt x="73" y="84"/>
                </a:cubicBezTo>
                <a:cubicBezTo>
                  <a:pt x="71" y="84"/>
                  <a:pt x="68" y="84"/>
                  <a:pt x="68" y="84"/>
                </a:cubicBezTo>
                <a:cubicBezTo>
                  <a:pt x="67" y="82"/>
                  <a:pt x="67" y="82"/>
                  <a:pt x="67" y="82"/>
                </a:cubicBezTo>
                <a:cubicBezTo>
                  <a:pt x="63" y="82"/>
                  <a:pt x="63" y="82"/>
                  <a:pt x="63" y="82"/>
                </a:cubicBezTo>
                <a:cubicBezTo>
                  <a:pt x="60" y="81"/>
                  <a:pt x="60" y="81"/>
                  <a:pt x="60" y="81"/>
                </a:cubicBezTo>
                <a:cubicBezTo>
                  <a:pt x="63" y="80"/>
                  <a:pt x="63" y="80"/>
                  <a:pt x="63" y="80"/>
                </a:cubicBezTo>
                <a:cubicBezTo>
                  <a:pt x="65" y="79"/>
                  <a:pt x="65" y="79"/>
                  <a:pt x="65" y="79"/>
                </a:cubicBezTo>
                <a:cubicBezTo>
                  <a:pt x="65" y="79"/>
                  <a:pt x="58" y="76"/>
                  <a:pt x="57" y="77"/>
                </a:cubicBezTo>
                <a:cubicBezTo>
                  <a:pt x="56" y="78"/>
                  <a:pt x="56" y="79"/>
                  <a:pt x="56" y="79"/>
                </a:cubicBezTo>
                <a:cubicBezTo>
                  <a:pt x="54" y="79"/>
                  <a:pt x="54" y="79"/>
                  <a:pt x="54" y="79"/>
                </a:cubicBezTo>
                <a:cubicBezTo>
                  <a:pt x="54" y="80"/>
                  <a:pt x="53" y="81"/>
                  <a:pt x="52" y="81"/>
                </a:cubicBezTo>
                <a:cubicBezTo>
                  <a:pt x="49" y="81"/>
                  <a:pt x="49" y="81"/>
                  <a:pt x="49" y="81"/>
                </a:cubicBezTo>
                <a:cubicBezTo>
                  <a:pt x="48" y="82"/>
                  <a:pt x="48" y="82"/>
                  <a:pt x="48" y="82"/>
                </a:cubicBezTo>
                <a:cubicBezTo>
                  <a:pt x="46" y="82"/>
                  <a:pt x="46" y="82"/>
                  <a:pt x="46" y="82"/>
                </a:cubicBezTo>
                <a:cubicBezTo>
                  <a:pt x="46" y="82"/>
                  <a:pt x="46" y="84"/>
                  <a:pt x="44" y="85"/>
                </a:cubicBezTo>
                <a:cubicBezTo>
                  <a:pt x="43" y="85"/>
                  <a:pt x="43" y="84"/>
                  <a:pt x="42" y="84"/>
                </a:cubicBezTo>
                <a:cubicBezTo>
                  <a:pt x="42" y="85"/>
                  <a:pt x="42" y="85"/>
                  <a:pt x="42" y="85"/>
                </a:cubicBezTo>
                <a:cubicBezTo>
                  <a:pt x="42" y="85"/>
                  <a:pt x="43" y="86"/>
                  <a:pt x="43" y="87"/>
                </a:cubicBezTo>
                <a:cubicBezTo>
                  <a:pt x="43" y="88"/>
                  <a:pt x="41" y="88"/>
                  <a:pt x="41" y="88"/>
                </a:cubicBezTo>
                <a:cubicBezTo>
                  <a:pt x="41" y="88"/>
                  <a:pt x="41" y="88"/>
                  <a:pt x="42" y="90"/>
                </a:cubicBezTo>
                <a:cubicBezTo>
                  <a:pt x="42" y="92"/>
                  <a:pt x="44" y="91"/>
                  <a:pt x="45" y="91"/>
                </a:cubicBezTo>
                <a:cubicBezTo>
                  <a:pt x="46" y="91"/>
                  <a:pt x="47" y="92"/>
                  <a:pt x="48" y="93"/>
                </a:cubicBezTo>
                <a:cubicBezTo>
                  <a:pt x="48" y="94"/>
                  <a:pt x="49" y="94"/>
                  <a:pt x="51" y="96"/>
                </a:cubicBezTo>
                <a:cubicBezTo>
                  <a:pt x="52" y="97"/>
                  <a:pt x="48" y="98"/>
                  <a:pt x="48" y="98"/>
                </a:cubicBezTo>
                <a:cubicBezTo>
                  <a:pt x="48" y="99"/>
                  <a:pt x="46" y="100"/>
                  <a:pt x="46" y="100"/>
                </a:cubicBezTo>
                <a:cubicBezTo>
                  <a:pt x="48" y="102"/>
                  <a:pt x="48" y="102"/>
                  <a:pt x="48" y="102"/>
                </a:cubicBezTo>
                <a:cubicBezTo>
                  <a:pt x="48" y="102"/>
                  <a:pt x="54" y="107"/>
                  <a:pt x="55" y="109"/>
                </a:cubicBezTo>
                <a:cubicBezTo>
                  <a:pt x="56" y="111"/>
                  <a:pt x="52" y="110"/>
                  <a:pt x="52" y="110"/>
                </a:cubicBezTo>
                <a:cubicBezTo>
                  <a:pt x="51" y="113"/>
                  <a:pt x="51" y="113"/>
                  <a:pt x="51" y="113"/>
                </a:cubicBezTo>
                <a:cubicBezTo>
                  <a:pt x="52" y="114"/>
                  <a:pt x="52" y="114"/>
                  <a:pt x="52" y="114"/>
                </a:cubicBezTo>
                <a:cubicBezTo>
                  <a:pt x="52" y="115"/>
                  <a:pt x="52" y="115"/>
                  <a:pt x="52" y="115"/>
                </a:cubicBezTo>
                <a:cubicBezTo>
                  <a:pt x="52" y="115"/>
                  <a:pt x="55" y="116"/>
                  <a:pt x="55" y="117"/>
                </a:cubicBezTo>
                <a:cubicBezTo>
                  <a:pt x="55" y="118"/>
                  <a:pt x="54" y="119"/>
                  <a:pt x="54" y="119"/>
                </a:cubicBezTo>
                <a:cubicBezTo>
                  <a:pt x="57" y="120"/>
                  <a:pt x="57" y="120"/>
                  <a:pt x="57" y="120"/>
                </a:cubicBezTo>
                <a:cubicBezTo>
                  <a:pt x="57" y="120"/>
                  <a:pt x="58" y="121"/>
                  <a:pt x="59" y="122"/>
                </a:cubicBezTo>
                <a:cubicBezTo>
                  <a:pt x="59" y="122"/>
                  <a:pt x="55" y="125"/>
                  <a:pt x="55" y="125"/>
                </a:cubicBezTo>
                <a:cubicBezTo>
                  <a:pt x="62" y="128"/>
                  <a:pt x="62" y="128"/>
                  <a:pt x="62" y="128"/>
                </a:cubicBezTo>
                <a:cubicBezTo>
                  <a:pt x="62" y="128"/>
                  <a:pt x="65" y="131"/>
                  <a:pt x="65" y="132"/>
                </a:cubicBezTo>
                <a:cubicBezTo>
                  <a:pt x="65" y="133"/>
                  <a:pt x="64" y="134"/>
                  <a:pt x="63" y="135"/>
                </a:cubicBezTo>
                <a:cubicBezTo>
                  <a:pt x="62" y="137"/>
                  <a:pt x="59" y="139"/>
                  <a:pt x="59" y="139"/>
                </a:cubicBezTo>
                <a:cubicBezTo>
                  <a:pt x="59" y="139"/>
                  <a:pt x="54" y="143"/>
                  <a:pt x="54" y="144"/>
                </a:cubicBezTo>
                <a:cubicBezTo>
                  <a:pt x="53" y="144"/>
                  <a:pt x="47" y="148"/>
                  <a:pt x="47" y="148"/>
                </a:cubicBezTo>
                <a:cubicBezTo>
                  <a:pt x="47" y="149"/>
                  <a:pt x="47" y="149"/>
                  <a:pt x="47" y="149"/>
                </a:cubicBezTo>
                <a:cubicBezTo>
                  <a:pt x="50" y="148"/>
                  <a:pt x="50" y="148"/>
                  <a:pt x="50" y="148"/>
                </a:cubicBezTo>
                <a:cubicBezTo>
                  <a:pt x="51" y="149"/>
                  <a:pt x="51" y="149"/>
                  <a:pt x="51" y="149"/>
                </a:cubicBezTo>
                <a:cubicBezTo>
                  <a:pt x="51" y="149"/>
                  <a:pt x="53" y="151"/>
                  <a:pt x="54" y="152"/>
                </a:cubicBezTo>
                <a:cubicBezTo>
                  <a:pt x="55" y="152"/>
                  <a:pt x="59" y="152"/>
                  <a:pt x="59" y="152"/>
                </a:cubicBezTo>
                <a:cubicBezTo>
                  <a:pt x="61" y="154"/>
                  <a:pt x="61" y="154"/>
                  <a:pt x="61" y="154"/>
                </a:cubicBezTo>
                <a:cubicBezTo>
                  <a:pt x="61" y="154"/>
                  <a:pt x="54" y="153"/>
                  <a:pt x="54" y="154"/>
                </a:cubicBezTo>
                <a:cubicBezTo>
                  <a:pt x="54" y="155"/>
                  <a:pt x="54" y="156"/>
                  <a:pt x="54" y="156"/>
                </a:cubicBezTo>
                <a:cubicBezTo>
                  <a:pt x="49" y="156"/>
                  <a:pt x="49" y="156"/>
                  <a:pt x="49" y="156"/>
                </a:cubicBezTo>
                <a:cubicBezTo>
                  <a:pt x="49" y="159"/>
                  <a:pt x="49" y="159"/>
                  <a:pt x="49" y="159"/>
                </a:cubicBezTo>
                <a:cubicBezTo>
                  <a:pt x="49" y="159"/>
                  <a:pt x="48" y="158"/>
                  <a:pt x="47" y="158"/>
                </a:cubicBezTo>
                <a:cubicBezTo>
                  <a:pt x="47" y="160"/>
                  <a:pt x="47" y="160"/>
                  <a:pt x="47" y="160"/>
                </a:cubicBezTo>
                <a:cubicBezTo>
                  <a:pt x="47" y="161"/>
                  <a:pt x="47" y="161"/>
                  <a:pt x="47" y="161"/>
                </a:cubicBezTo>
                <a:cubicBezTo>
                  <a:pt x="47" y="161"/>
                  <a:pt x="46" y="162"/>
                  <a:pt x="46" y="162"/>
                </a:cubicBezTo>
                <a:cubicBezTo>
                  <a:pt x="45" y="163"/>
                  <a:pt x="45" y="165"/>
                  <a:pt x="45" y="165"/>
                </a:cubicBezTo>
                <a:cubicBezTo>
                  <a:pt x="47" y="166"/>
                  <a:pt x="47" y="166"/>
                  <a:pt x="47" y="166"/>
                </a:cubicBezTo>
                <a:cubicBezTo>
                  <a:pt x="46" y="169"/>
                  <a:pt x="46" y="169"/>
                  <a:pt x="46" y="169"/>
                </a:cubicBezTo>
                <a:cubicBezTo>
                  <a:pt x="47" y="169"/>
                  <a:pt x="47" y="169"/>
                  <a:pt x="47" y="169"/>
                </a:cubicBezTo>
                <a:cubicBezTo>
                  <a:pt x="48" y="171"/>
                  <a:pt x="48" y="171"/>
                  <a:pt x="48" y="171"/>
                </a:cubicBezTo>
                <a:cubicBezTo>
                  <a:pt x="46" y="172"/>
                  <a:pt x="46" y="172"/>
                  <a:pt x="46" y="172"/>
                </a:cubicBezTo>
                <a:cubicBezTo>
                  <a:pt x="46" y="173"/>
                  <a:pt x="46" y="173"/>
                  <a:pt x="46" y="173"/>
                </a:cubicBezTo>
                <a:cubicBezTo>
                  <a:pt x="46" y="173"/>
                  <a:pt x="50" y="175"/>
                  <a:pt x="50" y="176"/>
                </a:cubicBezTo>
                <a:cubicBezTo>
                  <a:pt x="50" y="177"/>
                  <a:pt x="48" y="177"/>
                  <a:pt x="48" y="177"/>
                </a:cubicBezTo>
                <a:cubicBezTo>
                  <a:pt x="48" y="179"/>
                  <a:pt x="48" y="179"/>
                  <a:pt x="48" y="179"/>
                </a:cubicBezTo>
                <a:cubicBezTo>
                  <a:pt x="50" y="179"/>
                  <a:pt x="50" y="179"/>
                  <a:pt x="50" y="179"/>
                </a:cubicBezTo>
                <a:cubicBezTo>
                  <a:pt x="50" y="179"/>
                  <a:pt x="51" y="181"/>
                  <a:pt x="52" y="182"/>
                </a:cubicBezTo>
                <a:cubicBezTo>
                  <a:pt x="53" y="183"/>
                  <a:pt x="53" y="184"/>
                  <a:pt x="53" y="185"/>
                </a:cubicBezTo>
                <a:cubicBezTo>
                  <a:pt x="53" y="185"/>
                  <a:pt x="54" y="185"/>
                  <a:pt x="55" y="185"/>
                </a:cubicBezTo>
                <a:cubicBezTo>
                  <a:pt x="56" y="185"/>
                  <a:pt x="56" y="187"/>
                  <a:pt x="56" y="187"/>
                </a:cubicBezTo>
                <a:cubicBezTo>
                  <a:pt x="57" y="186"/>
                  <a:pt x="57" y="186"/>
                  <a:pt x="57" y="186"/>
                </a:cubicBezTo>
                <a:cubicBezTo>
                  <a:pt x="61" y="187"/>
                  <a:pt x="61" y="187"/>
                  <a:pt x="61" y="187"/>
                </a:cubicBezTo>
                <a:cubicBezTo>
                  <a:pt x="62" y="188"/>
                  <a:pt x="62" y="188"/>
                  <a:pt x="62" y="188"/>
                </a:cubicBezTo>
                <a:cubicBezTo>
                  <a:pt x="65" y="186"/>
                  <a:pt x="65" y="186"/>
                  <a:pt x="65" y="186"/>
                </a:cubicBezTo>
                <a:cubicBezTo>
                  <a:pt x="65" y="186"/>
                  <a:pt x="69" y="188"/>
                  <a:pt x="70" y="189"/>
                </a:cubicBezTo>
                <a:cubicBezTo>
                  <a:pt x="72" y="190"/>
                  <a:pt x="70" y="192"/>
                  <a:pt x="70" y="192"/>
                </a:cubicBezTo>
                <a:cubicBezTo>
                  <a:pt x="71" y="194"/>
                  <a:pt x="71" y="194"/>
                  <a:pt x="71" y="194"/>
                </a:cubicBezTo>
                <a:cubicBezTo>
                  <a:pt x="71" y="195"/>
                  <a:pt x="71" y="195"/>
                  <a:pt x="71" y="195"/>
                </a:cubicBezTo>
                <a:cubicBezTo>
                  <a:pt x="71" y="195"/>
                  <a:pt x="71" y="196"/>
                  <a:pt x="73" y="197"/>
                </a:cubicBezTo>
                <a:cubicBezTo>
                  <a:pt x="74" y="197"/>
                  <a:pt x="74" y="200"/>
                  <a:pt x="74" y="200"/>
                </a:cubicBezTo>
                <a:cubicBezTo>
                  <a:pt x="78" y="201"/>
                  <a:pt x="78" y="201"/>
                  <a:pt x="78" y="201"/>
                </a:cubicBezTo>
                <a:cubicBezTo>
                  <a:pt x="78" y="204"/>
                  <a:pt x="78" y="204"/>
                  <a:pt x="78" y="204"/>
                </a:cubicBezTo>
                <a:cubicBezTo>
                  <a:pt x="78" y="204"/>
                  <a:pt x="80" y="204"/>
                  <a:pt x="82" y="204"/>
                </a:cubicBezTo>
                <a:cubicBezTo>
                  <a:pt x="84" y="205"/>
                  <a:pt x="83" y="206"/>
                  <a:pt x="83" y="206"/>
                </a:cubicBezTo>
                <a:cubicBezTo>
                  <a:pt x="85" y="207"/>
                  <a:pt x="85" y="207"/>
                  <a:pt x="85" y="207"/>
                </a:cubicBezTo>
                <a:cubicBezTo>
                  <a:pt x="85" y="207"/>
                  <a:pt x="83" y="209"/>
                  <a:pt x="82" y="210"/>
                </a:cubicBezTo>
                <a:cubicBezTo>
                  <a:pt x="81" y="211"/>
                  <a:pt x="79" y="210"/>
                  <a:pt x="79" y="210"/>
                </a:cubicBezTo>
                <a:cubicBezTo>
                  <a:pt x="79" y="210"/>
                  <a:pt x="78" y="209"/>
                  <a:pt x="76" y="209"/>
                </a:cubicBezTo>
                <a:cubicBezTo>
                  <a:pt x="74" y="210"/>
                  <a:pt x="78" y="213"/>
                  <a:pt x="78" y="213"/>
                </a:cubicBezTo>
                <a:cubicBezTo>
                  <a:pt x="78" y="213"/>
                  <a:pt x="78" y="216"/>
                  <a:pt x="79" y="216"/>
                </a:cubicBezTo>
                <a:cubicBezTo>
                  <a:pt x="79" y="216"/>
                  <a:pt x="79" y="217"/>
                  <a:pt x="79" y="219"/>
                </a:cubicBezTo>
                <a:cubicBezTo>
                  <a:pt x="79" y="219"/>
                  <a:pt x="82" y="219"/>
                  <a:pt x="83" y="219"/>
                </a:cubicBezTo>
                <a:cubicBezTo>
                  <a:pt x="84" y="218"/>
                  <a:pt x="84" y="217"/>
                  <a:pt x="84" y="217"/>
                </a:cubicBezTo>
                <a:cubicBezTo>
                  <a:pt x="87" y="217"/>
                  <a:pt x="87" y="217"/>
                  <a:pt x="87" y="217"/>
                </a:cubicBezTo>
                <a:cubicBezTo>
                  <a:pt x="89" y="216"/>
                  <a:pt x="89" y="216"/>
                  <a:pt x="89" y="216"/>
                </a:cubicBezTo>
                <a:cubicBezTo>
                  <a:pt x="93" y="216"/>
                  <a:pt x="93" y="216"/>
                  <a:pt x="93" y="216"/>
                </a:cubicBezTo>
                <a:cubicBezTo>
                  <a:pt x="94" y="218"/>
                  <a:pt x="94" y="218"/>
                  <a:pt x="94" y="218"/>
                </a:cubicBezTo>
                <a:cubicBezTo>
                  <a:pt x="94" y="218"/>
                  <a:pt x="98" y="219"/>
                  <a:pt x="97" y="220"/>
                </a:cubicBezTo>
                <a:cubicBezTo>
                  <a:pt x="97" y="221"/>
                  <a:pt x="96" y="222"/>
                  <a:pt x="96" y="222"/>
                </a:cubicBezTo>
                <a:cubicBezTo>
                  <a:pt x="97" y="223"/>
                  <a:pt x="97" y="223"/>
                  <a:pt x="97" y="223"/>
                </a:cubicBezTo>
                <a:cubicBezTo>
                  <a:pt x="97" y="225"/>
                  <a:pt x="97" y="225"/>
                  <a:pt x="97" y="225"/>
                </a:cubicBezTo>
                <a:cubicBezTo>
                  <a:pt x="100" y="226"/>
                  <a:pt x="100" y="226"/>
                  <a:pt x="100" y="226"/>
                </a:cubicBezTo>
                <a:cubicBezTo>
                  <a:pt x="105" y="228"/>
                  <a:pt x="105" y="228"/>
                  <a:pt x="105" y="228"/>
                </a:cubicBezTo>
                <a:cubicBezTo>
                  <a:pt x="106" y="232"/>
                  <a:pt x="106" y="232"/>
                  <a:pt x="106" y="232"/>
                </a:cubicBezTo>
                <a:cubicBezTo>
                  <a:pt x="107" y="233"/>
                  <a:pt x="107" y="233"/>
                  <a:pt x="107" y="233"/>
                </a:cubicBezTo>
                <a:cubicBezTo>
                  <a:pt x="110" y="232"/>
                  <a:pt x="110" y="232"/>
                  <a:pt x="110" y="232"/>
                </a:cubicBezTo>
                <a:cubicBezTo>
                  <a:pt x="110" y="232"/>
                  <a:pt x="111" y="233"/>
                  <a:pt x="112" y="233"/>
                </a:cubicBezTo>
                <a:cubicBezTo>
                  <a:pt x="113" y="234"/>
                  <a:pt x="113" y="233"/>
                  <a:pt x="115" y="233"/>
                </a:cubicBezTo>
                <a:cubicBezTo>
                  <a:pt x="117" y="233"/>
                  <a:pt x="118" y="234"/>
                  <a:pt x="118" y="234"/>
                </a:cubicBezTo>
                <a:cubicBezTo>
                  <a:pt x="118" y="234"/>
                  <a:pt x="118" y="232"/>
                  <a:pt x="119" y="232"/>
                </a:cubicBezTo>
                <a:cubicBezTo>
                  <a:pt x="120" y="233"/>
                  <a:pt x="121" y="234"/>
                  <a:pt x="122" y="235"/>
                </a:cubicBezTo>
                <a:cubicBezTo>
                  <a:pt x="123" y="236"/>
                  <a:pt x="123" y="236"/>
                  <a:pt x="123" y="236"/>
                </a:cubicBezTo>
                <a:cubicBezTo>
                  <a:pt x="123" y="236"/>
                  <a:pt x="125" y="235"/>
                  <a:pt x="126" y="235"/>
                </a:cubicBezTo>
                <a:cubicBezTo>
                  <a:pt x="126" y="235"/>
                  <a:pt x="128" y="237"/>
                  <a:pt x="128" y="237"/>
                </a:cubicBezTo>
                <a:cubicBezTo>
                  <a:pt x="128" y="237"/>
                  <a:pt x="131" y="237"/>
                  <a:pt x="132" y="237"/>
                </a:cubicBezTo>
                <a:cubicBezTo>
                  <a:pt x="133" y="237"/>
                  <a:pt x="133" y="238"/>
                  <a:pt x="133" y="238"/>
                </a:cubicBezTo>
                <a:cubicBezTo>
                  <a:pt x="135" y="240"/>
                  <a:pt x="135" y="240"/>
                  <a:pt x="135" y="240"/>
                </a:cubicBezTo>
                <a:cubicBezTo>
                  <a:pt x="135" y="240"/>
                  <a:pt x="138" y="239"/>
                  <a:pt x="138" y="240"/>
                </a:cubicBezTo>
                <a:cubicBezTo>
                  <a:pt x="139" y="242"/>
                  <a:pt x="139" y="243"/>
                  <a:pt x="139" y="243"/>
                </a:cubicBezTo>
                <a:cubicBezTo>
                  <a:pt x="136" y="244"/>
                  <a:pt x="136" y="244"/>
                  <a:pt x="136" y="244"/>
                </a:cubicBezTo>
                <a:cubicBezTo>
                  <a:pt x="136" y="244"/>
                  <a:pt x="139" y="245"/>
                  <a:pt x="139" y="246"/>
                </a:cubicBezTo>
                <a:cubicBezTo>
                  <a:pt x="139" y="247"/>
                  <a:pt x="136" y="246"/>
                  <a:pt x="136" y="247"/>
                </a:cubicBezTo>
                <a:cubicBezTo>
                  <a:pt x="136" y="247"/>
                  <a:pt x="138" y="249"/>
                  <a:pt x="139" y="250"/>
                </a:cubicBezTo>
                <a:cubicBezTo>
                  <a:pt x="139" y="251"/>
                  <a:pt x="140" y="253"/>
                  <a:pt x="138" y="253"/>
                </a:cubicBezTo>
                <a:cubicBezTo>
                  <a:pt x="136" y="254"/>
                  <a:pt x="132" y="254"/>
                  <a:pt x="132" y="254"/>
                </a:cubicBezTo>
                <a:cubicBezTo>
                  <a:pt x="132" y="254"/>
                  <a:pt x="131" y="255"/>
                  <a:pt x="131" y="256"/>
                </a:cubicBezTo>
                <a:cubicBezTo>
                  <a:pt x="130" y="256"/>
                  <a:pt x="128" y="256"/>
                  <a:pt x="128" y="256"/>
                </a:cubicBezTo>
                <a:cubicBezTo>
                  <a:pt x="128" y="260"/>
                  <a:pt x="128" y="260"/>
                  <a:pt x="128" y="260"/>
                </a:cubicBezTo>
                <a:cubicBezTo>
                  <a:pt x="129" y="260"/>
                  <a:pt x="129" y="260"/>
                  <a:pt x="129" y="260"/>
                </a:cubicBezTo>
                <a:cubicBezTo>
                  <a:pt x="131" y="259"/>
                  <a:pt x="135" y="258"/>
                  <a:pt x="135" y="259"/>
                </a:cubicBezTo>
                <a:cubicBezTo>
                  <a:pt x="136" y="261"/>
                  <a:pt x="132" y="263"/>
                  <a:pt x="132" y="263"/>
                </a:cubicBezTo>
                <a:cubicBezTo>
                  <a:pt x="127" y="265"/>
                  <a:pt x="127" y="265"/>
                  <a:pt x="127" y="265"/>
                </a:cubicBezTo>
                <a:cubicBezTo>
                  <a:pt x="132" y="269"/>
                  <a:pt x="132" y="269"/>
                  <a:pt x="132" y="269"/>
                </a:cubicBezTo>
                <a:cubicBezTo>
                  <a:pt x="132" y="269"/>
                  <a:pt x="128" y="269"/>
                  <a:pt x="128" y="271"/>
                </a:cubicBezTo>
                <a:cubicBezTo>
                  <a:pt x="127" y="273"/>
                  <a:pt x="127" y="274"/>
                  <a:pt x="127" y="274"/>
                </a:cubicBezTo>
                <a:cubicBezTo>
                  <a:pt x="127" y="274"/>
                  <a:pt x="125" y="276"/>
                  <a:pt x="125" y="276"/>
                </a:cubicBezTo>
                <a:cubicBezTo>
                  <a:pt x="124" y="276"/>
                  <a:pt x="121" y="274"/>
                  <a:pt x="121" y="274"/>
                </a:cubicBezTo>
                <a:cubicBezTo>
                  <a:pt x="121" y="276"/>
                  <a:pt x="121" y="276"/>
                  <a:pt x="121" y="276"/>
                </a:cubicBezTo>
                <a:cubicBezTo>
                  <a:pt x="121" y="276"/>
                  <a:pt x="123" y="278"/>
                  <a:pt x="123" y="278"/>
                </a:cubicBezTo>
                <a:cubicBezTo>
                  <a:pt x="124" y="278"/>
                  <a:pt x="125" y="281"/>
                  <a:pt x="125" y="281"/>
                </a:cubicBezTo>
                <a:cubicBezTo>
                  <a:pt x="129" y="281"/>
                  <a:pt x="129" y="281"/>
                  <a:pt x="129" y="281"/>
                </a:cubicBezTo>
                <a:cubicBezTo>
                  <a:pt x="129" y="281"/>
                  <a:pt x="132" y="284"/>
                  <a:pt x="133" y="284"/>
                </a:cubicBezTo>
                <a:cubicBezTo>
                  <a:pt x="134" y="284"/>
                  <a:pt x="136" y="284"/>
                  <a:pt x="136" y="284"/>
                </a:cubicBezTo>
                <a:cubicBezTo>
                  <a:pt x="136" y="284"/>
                  <a:pt x="141" y="290"/>
                  <a:pt x="142" y="290"/>
                </a:cubicBezTo>
                <a:cubicBezTo>
                  <a:pt x="143" y="291"/>
                  <a:pt x="144" y="291"/>
                  <a:pt x="145" y="292"/>
                </a:cubicBezTo>
                <a:cubicBezTo>
                  <a:pt x="147" y="290"/>
                  <a:pt x="147" y="290"/>
                  <a:pt x="147" y="290"/>
                </a:cubicBezTo>
                <a:cubicBezTo>
                  <a:pt x="147" y="290"/>
                  <a:pt x="151" y="291"/>
                  <a:pt x="154" y="292"/>
                </a:cubicBezTo>
                <a:cubicBezTo>
                  <a:pt x="157" y="293"/>
                  <a:pt x="159" y="293"/>
                  <a:pt x="161" y="293"/>
                </a:cubicBezTo>
                <a:cubicBezTo>
                  <a:pt x="163" y="293"/>
                  <a:pt x="166" y="294"/>
                  <a:pt x="166" y="294"/>
                </a:cubicBezTo>
                <a:cubicBezTo>
                  <a:pt x="171" y="297"/>
                  <a:pt x="171" y="297"/>
                  <a:pt x="171" y="297"/>
                </a:cubicBezTo>
                <a:cubicBezTo>
                  <a:pt x="171" y="297"/>
                  <a:pt x="171" y="299"/>
                  <a:pt x="174" y="299"/>
                </a:cubicBezTo>
                <a:cubicBezTo>
                  <a:pt x="177" y="299"/>
                  <a:pt x="176" y="297"/>
                  <a:pt x="179" y="297"/>
                </a:cubicBezTo>
                <a:cubicBezTo>
                  <a:pt x="182" y="297"/>
                  <a:pt x="183" y="299"/>
                  <a:pt x="183" y="299"/>
                </a:cubicBezTo>
                <a:cubicBezTo>
                  <a:pt x="187" y="300"/>
                  <a:pt x="187" y="300"/>
                  <a:pt x="187" y="300"/>
                </a:cubicBezTo>
                <a:cubicBezTo>
                  <a:pt x="187" y="300"/>
                  <a:pt x="186" y="302"/>
                  <a:pt x="186" y="302"/>
                </a:cubicBezTo>
                <a:cubicBezTo>
                  <a:pt x="189" y="302"/>
                  <a:pt x="190" y="304"/>
                  <a:pt x="191" y="305"/>
                </a:cubicBezTo>
                <a:cubicBezTo>
                  <a:pt x="193" y="305"/>
                  <a:pt x="194" y="305"/>
                  <a:pt x="196" y="306"/>
                </a:cubicBezTo>
                <a:cubicBezTo>
                  <a:pt x="198" y="308"/>
                  <a:pt x="199" y="311"/>
                  <a:pt x="202" y="311"/>
                </a:cubicBezTo>
                <a:cubicBezTo>
                  <a:pt x="205" y="310"/>
                  <a:pt x="204" y="309"/>
                  <a:pt x="204" y="309"/>
                </a:cubicBezTo>
                <a:cubicBezTo>
                  <a:pt x="204" y="309"/>
                  <a:pt x="206" y="309"/>
                  <a:pt x="206" y="308"/>
                </a:cubicBezTo>
                <a:cubicBezTo>
                  <a:pt x="207" y="307"/>
                  <a:pt x="207" y="305"/>
                  <a:pt x="207" y="305"/>
                </a:cubicBezTo>
                <a:cubicBezTo>
                  <a:pt x="206" y="304"/>
                  <a:pt x="206" y="304"/>
                  <a:pt x="206" y="304"/>
                </a:cubicBezTo>
                <a:cubicBezTo>
                  <a:pt x="206" y="304"/>
                  <a:pt x="205" y="302"/>
                  <a:pt x="204" y="301"/>
                </a:cubicBezTo>
                <a:cubicBezTo>
                  <a:pt x="203" y="300"/>
                  <a:pt x="200" y="299"/>
                  <a:pt x="200" y="299"/>
                </a:cubicBezTo>
                <a:cubicBezTo>
                  <a:pt x="200" y="297"/>
                  <a:pt x="200" y="297"/>
                  <a:pt x="200" y="297"/>
                </a:cubicBezTo>
                <a:cubicBezTo>
                  <a:pt x="200" y="297"/>
                  <a:pt x="199" y="296"/>
                  <a:pt x="197" y="294"/>
                </a:cubicBezTo>
                <a:cubicBezTo>
                  <a:pt x="196" y="292"/>
                  <a:pt x="198" y="290"/>
                  <a:pt x="197" y="288"/>
                </a:cubicBezTo>
                <a:cubicBezTo>
                  <a:pt x="196" y="286"/>
                  <a:pt x="193" y="284"/>
                  <a:pt x="193" y="284"/>
                </a:cubicBezTo>
                <a:cubicBezTo>
                  <a:pt x="193" y="284"/>
                  <a:pt x="191" y="283"/>
                  <a:pt x="190" y="283"/>
                </a:cubicBezTo>
                <a:cubicBezTo>
                  <a:pt x="188" y="282"/>
                  <a:pt x="192" y="279"/>
                  <a:pt x="192" y="279"/>
                </a:cubicBezTo>
                <a:cubicBezTo>
                  <a:pt x="192" y="279"/>
                  <a:pt x="194" y="276"/>
                  <a:pt x="195" y="275"/>
                </a:cubicBezTo>
                <a:cubicBezTo>
                  <a:pt x="195" y="274"/>
                  <a:pt x="193" y="272"/>
                  <a:pt x="193" y="272"/>
                </a:cubicBezTo>
                <a:cubicBezTo>
                  <a:pt x="193" y="272"/>
                  <a:pt x="195" y="273"/>
                  <a:pt x="196" y="273"/>
                </a:cubicBezTo>
                <a:cubicBezTo>
                  <a:pt x="196" y="273"/>
                  <a:pt x="198" y="273"/>
                  <a:pt x="199" y="272"/>
                </a:cubicBezTo>
                <a:cubicBezTo>
                  <a:pt x="199" y="271"/>
                  <a:pt x="200" y="272"/>
                  <a:pt x="202" y="271"/>
                </a:cubicBezTo>
                <a:cubicBezTo>
                  <a:pt x="204" y="271"/>
                  <a:pt x="201" y="269"/>
                  <a:pt x="201" y="269"/>
                </a:cubicBezTo>
                <a:cubicBezTo>
                  <a:pt x="201" y="269"/>
                  <a:pt x="204" y="269"/>
                  <a:pt x="204" y="269"/>
                </a:cubicBezTo>
                <a:cubicBezTo>
                  <a:pt x="204" y="269"/>
                  <a:pt x="204" y="267"/>
                  <a:pt x="204" y="267"/>
                </a:cubicBezTo>
                <a:cubicBezTo>
                  <a:pt x="203" y="266"/>
                  <a:pt x="199" y="265"/>
                  <a:pt x="199" y="264"/>
                </a:cubicBezTo>
                <a:cubicBezTo>
                  <a:pt x="199" y="263"/>
                  <a:pt x="202" y="264"/>
                  <a:pt x="202" y="263"/>
                </a:cubicBezTo>
                <a:cubicBezTo>
                  <a:pt x="202" y="261"/>
                  <a:pt x="196" y="255"/>
                  <a:pt x="195" y="255"/>
                </a:cubicBezTo>
                <a:cubicBezTo>
                  <a:pt x="194" y="254"/>
                  <a:pt x="191" y="256"/>
                  <a:pt x="189" y="255"/>
                </a:cubicBezTo>
                <a:cubicBezTo>
                  <a:pt x="187" y="254"/>
                  <a:pt x="189" y="252"/>
                  <a:pt x="187" y="251"/>
                </a:cubicBezTo>
                <a:cubicBezTo>
                  <a:pt x="185" y="250"/>
                  <a:pt x="183" y="251"/>
                  <a:pt x="183" y="249"/>
                </a:cubicBezTo>
                <a:cubicBezTo>
                  <a:pt x="183" y="246"/>
                  <a:pt x="185" y="244"/>
                  <a:pt x="185" y="243"/>
                </a:cubicBezTo>
                <a:cubicBezTo>
                  <a:pt x="185" y="242"/>
                  <a:pt x="184" y="241"/>
                  <a:pt x="184" y="241"/>
                </a:cubicBezTo>
                <a:cubicBezTo>
                  <a:pt x="183" y="237"/>
                  <a:pt x="183" y="237"/>
                  <a:pt x="183" y="237"/>
                </a:cubicBezTo>
                <a:cubicBezTo>
                  <a:pt x="183" y="237"/>
                  <a:pt x="185" y="237"/>
                  <a:pt x="185" y="236"/>
                </a:cubicBezTo>
                <a:cubicBezTo>
                  <a:pt x="185" y="235"/>
                  <a:pt x="184" y="232"/>
                  <a:pt x="186" y="232"/>
                </a:cubicBezTo>
                <a:cubicBezTo>
                  <a:pt x="188" y="231"/>
                  <a:pt x="193" y="238"/>
                  <a:pt x="195" y="236"/>
                </a:cubicBezTo>
                <a:cubicBezTo>
                  <a:pt x="197" y="234"/>
                  <a:pt x="194" y="231"/>
                  <a:pt x="194" y="231"/>
                </a:cubicBezTo>
                <a:cubicBezTo>
                  <a:pt x="197" y="230"/>
                  <a:pt x="197" y="230"/>
                  <a:pt x="197" y="230"/>
                </a:cubicBezTo>
                <a:cubicBezTo>
                  <a:pt x="197" y="227"/>
                  <a:pt x="197" y="227"/>
                  <a:pt x="197" y="227"/>
                </a:cubicBezTo>
                <a:cubicBezTo>
                  <a:pt x="197" y="227"/>
                  <a:pt x="202" y="226"/>
                  <a:pt x="203" y="225"/>
                </a:cubicBezTo>
                <a:cubicBezTo>
                  <a:pt x="204" y="223"/>
                  <a:pt x="201" y="222"/>
                  <a:pt x="204" y="221"/>
                </a:cubicBezTo>
                <a:cubicBezTo>
                  <a:pt x="208" y="221"/>
                  <a:pt x="207" y="223"/>
                  <a:pt x="209" y="223"/>
                </a:cubicBezTo>
                <a:cubicBezTo>
                  <a:pt x="212" y="223"/>
                  <a:pt x="214" y="221"/>
                  <a:pt x="215" y="221"/>
                </a:cubicBezTo>
                <a:cubicBezTo>
                  <a:pt x="216" y="221"/>
                  <a:pt x="217" y="223"/>
                  <a:pt x="218" y="224"/>
                </a:cubicBezTo>
                <a:cubicBezTo>
                  <a:pt x="220" y="224"/>
                  <a:pt x="223" y="223"/>
                  <a:pt x="224" y="224"/>
                </a:cubicBezTo>
                <a:cubicBezTo>
                  <a:pt x="225" y="224"/>
                  <a:pt x="225" y="226"/>
                  <a:pt x="225" y="226"/>
                </a:cubicBezTo>
                <a:cubicBezTo>
                  <a:pt x="229" y="226"/>
                  <a:pt x="229" y="226"/>
                  <a:pt x="229" y="226"/>
                </a:cubicBezTo>
                <a:cubicBezTo>
                  <a:pt x="230" y="229"/>
                  <a:pt x="230" y="229"/>
                  <a:pt x="230" y="229"/>
                </a:cubicBezTo>
                <a:cubicBezTo>
                  <a:pt x="230" y="229"/>
                  <a:pt x="231" y="232"/>
                  <a:pt x="233" y="231"/>
                </a:cubicBezTo>
                <a:cubicBezTo>
                  <a:pt x="234" y="230"/>
                  <a:pt x="230" y="228"/>
                  <a:pt x="232" y="227"/>
                </a:cubicBezTo>
                <a:cubicBezTo>
                  <a:pt x="234" y="227"/>
                  <a:pt x="240" y="232"/>
                  <a:pt x="241" y="231"/>
                </a:cubicBezTo>
                <a:cubicBezTo>
                  <a:pt x="241" y="230"/>
                  <a:pt x="244" y="227"/>
                  <a:pt x="246" y="227"/>
                </a:cubicBezTo>
                <a:cubicBezTo>
                  <a:pt x="247" y="227"/>
                  <a:pt x="249" y="229"/>
                  <a:pt x="251" y="229"/>
                </a:cubicBezTo>
                <a:cubicBezTo>
                  <a:pt x="254" y="228"/>
                  <a:pt x="256" y="226"/>
                  <a:pt x="257" y="227"/>
                </a:cubicBezTo>
                <a:cubicBezTo>
                  <a:pt x="258" y="227"/>
                  <a:pt x="260" y="230"/>
                  <a:pt x="262" y="230"/>
                </a:cubicBezTo>
                <a:cubicBezTo>
                  <a:pt x="264" y="231"/>
                  <a:pt x="267" y="231"/>
                  <a:pt x="267" y="231"/>
                </a:cubicBezTo>
                <a:cubicBezTo>
                  <a:pt x="268" y="229"/>
                  <a:pt x="268" y="229"/>
                  <a:pt x="268" y="229"/>
                </a:cubicBezTo>
                <a:cubicBezTo>
                  <a:pt x="268" y="229"/>
                  <a:pt x="278" y="234"/>
                  <a:pt x="277" y="228"/>
                </a:cubicBezTo>
                <a:cubicBezTo>
                  <a:pt x="277" y="221"/>
                  <a:pt x="269" y="222"/>
                  <a:pt x="269" y="222"/>
                </a:cubicBezTo>
                <a:cubicBezTo>
                  <a:pt x="265" y="218"/>
                  <a:pt x="265" y="218"/>
                  <a:pt x="265" y="218"/>
                </a:cubicBezTo>
                <a:cubicBezTo>
                  <a:pt x="265" y="218"/>
                  <a:pt x="270" y="217"/>
                  <a:pt x="271" y="216"/>
                </a:cubicBezTo>
                <a:cubicBezTo>
                  <a:pt x="271" y="215"/>
                  <a:pt x="269" y="213"/>
                  <a:pt x="269" y="213"/>
                </a:cubicBezTo>
                <a:cubicBezTo>
                  <a:pt x="270" y="211"/>
                  <a:pt x="270" y="211"/>
                  <a:pt x="270" y="211"/>
                </a:cubicBezTo>
                <a:cubicBezTo>
                  <a:pt x="270" y="211"/>
                  <a:pt x="276" y="212"/>
                  <a:pt x="276" y="211"/>
                </a:cubicBezTo>
                <a:cubicBezTo>
                  <a:pt x="276" y="210"/>
                  <a:pt x="269" y="208"/>
                  <a:pt x="269" y="208"/>
                </a:cubicBezTo>
                <a:cubicBezTo>
                  <a:pt x="271" y="207"/>
                  <a:pt x="271" y="207"/>
                  <a:pt x="271" y="207"/>
                </a:cubicBezTo>
                <a:cubicBezTo>
                  <a:pt x="268" y="206"/>
                  <a:pt x="268" y="206"/>
                  <a:pt x="268" y="206"/>
                </a:cubicBezTo>
                <a:cubicBezTo>
                  <a:pt x="268" y="206"/>
                  <a:pt x="265" y="203"/>
                  <a:pt x="272" y="202"/>
                </a:cubicBezTo>
                <a:cubicBezTo>
                  <a:pt x="280" y="201"/>
                  <a:pt x="285" y="201"/>
                  <a:pt x="285" y="201"/>
                </a:cubicBezTo>
                <a:cubicBezTo>
                  <a:pt x="285" y="199"/>
                  <a:pt x="285" y="199"/>
                  <a:pt x="285" y="199"/>
                </a:cubicBezTo>
                <a:cubicBezTo>
                  <a:pt x="292" y="199"/>
                  <a:pt x="292" y="199"/>
                  <a:pt x="292" y="199"/>
                </a:cubicBezTo>
                <a:cubicBezTo>
                  <a:pt x="292" y="199"/>
                  <a:pt x="292" y="197"/>
                  <a:pt x="294" y="197"/>
                </a:cubicBezTo>
                <a:cubicBezTo>
                  <a:pt x="295" y="197"/>
                  <a:pt x="299" y="197"/>
                  <a:pt x="303" y="197"/>
                </a:cubicBezTo>
                <a:cubicBezTo>
                  <a:pt x="306" y="196"/>
                  <a:pt x="310" y="195"/>
                  <a:pt x="310" y="195"/>
                </a:cubicBezTo>
                <a:cubicBezTo>
                  <a:pt x="310" y="195"/>
                  <a:pt x="309" y="191"/>
                  <a:pt x="315" y="191"/>
                </a:cubicBezTo>
                <a:cubicBezTo>
                  <a:pt x="320" y="191"/>
                  <a:pt x="322" y="193"/>
                  <a:pt x="323" y="193"/>
                </a:cubicBezTo>
                <a:cubicBezTo>
                  <a:pt x="324" y="193"/>
                  <a:pt x="325" y="191"/>
                  <a:pt x="326" y="192"/>
                </a:cubicBezTo>
                <a:cubicBezTo>
                  <a:pt x="327" y="193"/>
                  <a:pt x="328" y="196"/>
                  <a:pt x="328" y="196"/>
                </a:cubicBezTo>
                <a:cubicBezTo>
                  <a:pt x="328" y="196"/>
                  <a:pt x="330" y="196"/>
                  <a:pt x="330" y="197"/>
                </a:cubicBezTo>
                <a:cubicBezTo>
                  <a:pt x="330" y="198"/>
                  <a:pt x="330" y="201"/>
                  <a:pt x="331" y="201"/>
                </a:cubicBezTo>
                <a:cubicBezTo>
                  <a:pt x="332" y="201"/>
                  <a:pt x="336" y="201"/>
                  <a:pt x="336" y="201"/>
                </a:cubicBezTo>
                <a:cubicBezTo>
                  <a:pt x="337" y="199"/>
                  <a:pt x="337" y="199"/>
                  <a:pt x="337" y="199"/>
                </a:cubicBezTo>
                <a:cubicBezTo>
                  <a:pt x="340" y="202"/>
                  <a:pt x="340" y="202"/>
                  <a:pt x="340" y="202"/>
                </a:cubicBezTo>
                <a:cubicBezTo>
                  <a:pt x="342" y="201"/>
                  <a:pt x="342" y="201"/>
                  <a:pt x="342" y="201"/>
                </a:cubicBezTo>
                <a:cubicBezTo>
                  <a:pt x="345" y="203"/>
                  <a:pt x="345" y="203"/>
                  <a:pt x="345" y="203"/>
                </a:cubicBezTo>
                <a:cubicBezTo>
                  <a:pt x="345" y="203"/>
                  <a:pt x="346" y="201"/>
                  <a:pt x="348" y="202"/>
                </a:cubicBezTo>
                <a:cubicBezTo>
                  <a:pt x="349" y="204"/>
                  <a:pt x="346" y="207"/>
                  <a:pt x="348" y="207"/>
                </a:cubicBezTo>
                <a:cubicBezTo>
                  <a:pt x="349" y="207"/>
                  <a:pt x="349" y="205"/>
                  <a:pt x="350" y="205"/>
                </a:cubicBezTo>
                <a:cubicBezTo>
                  <a:pt x="351" y="206"/>
                  <a:pt x="354" y="208"/>
                  <a:pt x="355" y="207"/>
                </a:cubicBezTo>
                <a:cubicBezTo>
                  <a:pt x="357" y="206"/>
                  <a:pt x="355" y="205"/>
                  <a:pt x="356" y="204"/>
                </a:cubicBezTo>
                <a:cubicBezTo>
                  <a:pt x="357" y="204"/>
                  <a:pt x="359" y="203"/>
                  <a:pt x="359" y="203"/>
                </a:cubicBezTo>
                <a:cubicBezTo>
                  <a:pt x="360" y="202"/>
                  <a:pt x="360" y="202"/>
                  <a:pt x="360" y="202"/>
                </a:cubicBezTo>
                <a:cubicBezTo>
                  <a:pt x="364" y="200"/>
                  <a:pt x="364" y="200"/>
                  <a:pt x="364" y="200"/>
                </a:cubicBezTo>
                <a:cubicBezTo>
                  <a:pt x="364" y="200"/>
                  <a:pt x="366" y="197"/>
                  <a:pt x="367" y="199"/>
                </a:cubicBezTo>
                <a:cubicBezTo>
                  <a:pt x="369" y="200"/>
                  <a:pt x="365" y="202"/>
                  <a:pt x="365" y="202"/>
                </a:cubicBezTo>
                <a:cubicBezTo>
                  <a:pt x="365" y="202"/>
                  <a:pt x="376" y="207"/>
                  <a:pt x="377" y="208"/>
                </a:cubicBezTo>
                <a:cubicBezTo>
                  <a:pt x="378" y="208"/>
                  <a:pt x="390" y="219"/>
                  <a:pt x="392" y="221"/>
                </a:cubicBezTo>
                <a:cubicBezTo>
                  <a:pt x="394" y="223"/>
                  <a:pt x="398" y="230"/>
                  <a:pt x="401" y="229"/>
                </a:cubicBezTo>
                <a:cubicBezTo>
                  <a:pt x="404" y="229"/>
                  <a:pt x="403" y="224"/>
                  <a:pt x="405" y="224"/>
                </a:cubicBezTo>
                <a:cubicBezTo>
                  <a:pt x="407" y="225"/>
                  <a:pt x="406" y="228"/>
                  <a:pt x="407" y="228"/>
                </a:cubicBezTo>
                <a:cubicBezTo>
                  <a:pt x="407" y="228"/>
                  <a:pt x="410" y="228"/>
                  <a:pt x="410" y="228"/>
                </a:cubicBezTo>
                <a:cubicBezTo>
                  <a:pt x="410" y="228"/>
                  <a:pt x="412" y="231"/>
                  <a:pt x="414" y="230"/>
                </a:cubicBezTo>
                <a:cubicBezTo>
                  <a:pt x="416" y="230"/>
                  <a:pt x="419" y="227"/>
                  <a:pt x="423" y="228"/>
                </a:cubicBezTo>
                <a:cubicBezTo>
                  <a:pt x="426" y="228"/>
                  <a:pt x="430" y="233"/>
                  <a:pt x="430" y="233"/>
                </a:cubicBezTo>
                <a:cubicBezTo>
                  <a:pt x="430" y="233"/>
                  <a:pt x="435" y="234"/>
                  <a:pt x="436" y="234"/>
                </a:cubicBezTo>
                <a:cubicBezTo>
                  <a:pt x="436" y="235"/>
                  <a:pt x="438" y="239"/>
                  <a:pt x="438" y="239"/>
                </a:cubicBezTo>
                <a:cubicBezTo>
                  <a:pt x="446" y="240"/>
                  <a:pt x="446" y="240"/>
                  <a:pt x="446" y="240"/>
                </a:cubicBezTo>
                <a:cubicBezTo>
                  <a:pt x="448" y="237"/>
                  <a:pt x="448" y="237"/>
                  <a:pt x="448" y="237"/>
                </a:cubicBezTo>
                <a:cubicBezTo>
                  <a:pt x="450" y="239"/>
                  <a:pt x="450" y="239"/>
                  <a:pt x="450" y="239"/>
                </a:cubicBezTo>
                <a:cubicBezTo>
                  <a:pt x="454" y="243"/>
                  <a:pt x="454" y="243"/>
                  <a:pt x="454" y="243"/>
                </a:cubicBezTo>
                <a:cubicBezTo>
                  <a:pt x="454" y="244"/>
                  <a:pt x="455" y="244"/>
                  <a:pt x="455" y="244"/>
                </a:cubicBezTo>
                <a:cubicBezTo>
                  <a:pt x="455" y="244"/>
                  <a:pt x="457" y="243"/>
                  <a:pt x="458" y="243"/>
                </a:cubicBezTo>
                <a:cubicBezTo>
                  <a:pt x="460" y="242"/>
                  <a:pt x="460" y="242"/>
                  <a:pt x="460" y="242"/>
                </a:cubicBezTo>
                <a:cubicBezTo>
                  <a:pt x="459" y="240"/>
                  <a:pt x="459" y="240"/>
                  <a:pt x="459" y="240"/>
                </a:cubicBezTo>
                <a:cubicBezTo>
                  <a:pt x="466" y="240"/>
                  <a:pt x="466" y="240"/>
                  <a:pt x="466" y="240"/>
                </a:cubicBezTo>
                <a:cubicBezTo>
                  <a:pt x="466" y="239"/>
                  <a:pt x="466" y="239"/>
                  <a:pt x="466" y="239"/>
                </a:cubicBezTo>
                <a:cubicBezTo>
                  <a:pt x="468" y="239"/>
                  <a:pt x="468" y="239"/>
                  <a:pt x="468" y="239"/>
                </a:cubicBezTo>
                <a:cubicBezTo>
                  <a:pt x="468" y="239"/>
                  <a:pt x="467" y="238"/>
                  <a:pt x="468" y="237"/>
                </a:cubicBezTo>
                <a:cubicBezTo>
                  <a:pt x="470" y="235"/>
                  <a:pt x="472" y="234"/>
                  <a:pt x="472" y="234"/>
                </a:cubicBezTo>
                <a:cubicBezTo>
                  <a:pt x="473" y="234"/>
                  <a:pt x="473" y="234"/>
                  <a:pt x="473" y="234"/>
                </a:cubicBezTo>
                <a:cubicBezTo>
                  <a:pt x="475" y="232"/>
                  <a:pt x="475" y="232"/>
                  <a:pt x="475" y="232"/>
                </a:cubicBezTo>
                <a:cubicBezTo>
                  <a:pt x="477" y="232"/>
                  <a:pt x="477" y="232"/>
                  <a:pt x="477" y="232"/>
                </a:cubicBezTo>
                <a:cubicBezTo>
                  <a:pt x="477" y="232"/>
                  <a:pt x="478" y="229"/>
                  <a:pt x="479" y="229"/>
                </a:cubicBezTo>
                <a:cubicBezTo>
                  <a:pt x="480" y="229"/>
                  <a:pt x="481" y="230"/>
                  <a:pt x="481" y="230"/>
                </a:cubicBezTo>
                <a:cubicBezTo>
                  <a:pt x="483" y="229"/>
                  <a:pt x="483" y="229"/>
                  <a:pt x="483" y="229"/>
                </a:cubicBezTo>
                <a:cubicBezTo>
                  <a:pt x="483" y="229"/>
                  <a:pt x="483" y="230"/>
                  <a:pt x="484" y="230"/>
                </a:cubicBezTo>
                <a:cubicBezTo>
                  <a:pt x="484" y="230"/>
                  <a:pt x="487" y="230"/>
                  <a:pt x="487" y="230"/>
                </a:cubicBezTo>
                <a:cubicBezTo>
                  <a:pt x="487" y="232"/>
                  <a:pt x="487" y="232"/>
                  <a:pt x="487" y="232"/>
                </a:cubicBezTo>
                <a:cubicBezTo>
                  <a:pt x="487" y="232"/>
                  <a:pt x="495" y="231"/>
                  <a:pt x="496" y="231"/>
                </a:cubicBezTo>
                <a:cubicBezTo>
                  <a:pt x="497" y="231"/>
                  <a:pt x="497" y="233"/>
                  <a:pt x="498" y="234"/>
                </a:cubicBezTo>
                <a:cubicBezTo>
                  <a:pt x="499" y="235"/>
                  <a:pt x="503" y="235"/>
                  <a:pt x="503" y="235"/>
                </a:cubicBezTo>
                <a:cubicBezTo>
                  <a:pt x="503" y="236"/>
                  <a:pt x="503" y="236"/>
                  <a:pt x="503" y="236"/>
                </a:cubicBezTo>
                <a:cubicBezTo>
                  <a:pt x="506" y="236"/>
                  <a:pt x="506" y="236"/>
                  <a:pt x="506" y="236"/>
                </a:cubicBezTo>
                <a:cubicBezTo>
                  <a:pt x="507" y="237"/>
                  <a:pt x="507" y="237"/>
                  <a:pt x="507" y="237"/>
                </a:cubicBezTo>
                <a:cubicBezTo>
                  <a:pt x="507" y="237"/>
                  <a:pt x="507" y="236"/>
                  <a:pt x="509" y="236"/>
                </a:cubicBezTo>
                <a:cubicBezTo>
                  <a:pt x="511" y="235"/>
                  <a:pt x="512" y="236"/>
                  <a:pt x="512" y="236"/>
                </a:cubicBezTo>
                <a:cubicBezTo>
                  <a:pt x="512" y="237"/>
                  <a:pt x="512" y="237"/>
                  <a:pt x="512" y="237"/>
                </a:cubicBezTo>
                <a:cubicBezTo>
                  <a:pt x="517" y="237"/>
                  <a:pt x="517" y="237"/>
                  <a:pt x="517" y="237"/>
                </a:cubicBezTo>
                <a:cubicBezTo>
                  <a:pt x="517" y="237"/>
                  <a:pt x="516" y="239"/>
                  <a:pt x="519" y="238"/>
                </a:cubicBezTo>
                <a:cubicBezTo>
                  <a:pt x="522" y="237"/>
                  <a:pt x="521" y="235"/>
                  <a:pt x="521" y="235"/>
                </a:cubicBezTo>
                <a:cubicBezTo>
                  <a:pt x="521" y="235"/>
                  <a:pt x="523" y="237"/>
                  <a:pt x="523" y="234"/>
                </a:cubicBezTo>
                <a:cubicBezTo>
                  <a:pt x="523" y="231"/>
                  <a:pt x="521" y="231"/>
                  <a:pt x="521" y="231"/>
                </a:cubicBezTo>
                <a:cubicBezTo>
                  <a:pt x="518" y="227"/>
                  <a:pt x="518" y="227"/>
                  <a:pt x="518" y="227"/>
                </a:cubicBezTo>
                <a:cubicBezTo>
                  <a:pt x="518" y="225"/>
                  <a:pt x="518" y="225"/>
                  <a:pt x="518" y="225"/>
                </a:cubicBezTo>
                <a:cubicBezTo>
                  <a:pt x="518" y="225"/>
                  <a:pt x="517" y="225"/>
                  <a:pt x="517" y="224"/>
                </a:cubicBezTo>
                <a:cubicBezTo>
                  <a:pt x="517" y="223"/>
                  <a:pt x="518" y="223"/>
                  <a:pt x="518" y="223"/>
                </a:cubicBezTo>
                <a:cubicBezTo>
                  <a:pt x="518" y="221"/>
                  <a:pt x="518" y="221"/>
                  <a:pt x="518" y="221"/>
                </a:cubicBezTo>
                <a:cubicBezTo>
                  <a:pt x="518" y="221"/>
                  <a:pt x="519" y="222"/>
                  <a:pt x="520" y="221"/>
                </a:cubicBezTo>
                <a:cubicBezTo>
                  <a:pt x="520" y="220"/>
                  <a:pt x="520" y="218"/>
                  <a:pt x="520" y="218"/>
                </a:cubicBezTo>
                <a:cubicBezTo>
                  <a:pt x="522" y="218"/>
                  <a:pt x="522" y="218"/>
                  <a:pt x="522" y="218"/>
                </a:cubicBezTo>
                <a:cubicBezTo>
                  <a:pt x="522" y="218"/>
                  <a:pt x="525" y="221"/>
                  <a:pt x="528" y="221"/>
                </a:cubicBezTo>
                <a:cubicBezTo>
                  <a:pt x="531" y="221"/>
                  <a:pt x="534" y="221"/>
                  <a:pt x="534" y="221"/>
                </a:cubicBezTo>
                <a:cubicBezTo>
                  <a:pt x="534" y="221"/>
                  <a:pt x="537" y="223"/>
                  <a:pt x="539" y="224"/>
                </a:cubicBezTo>
                <a:cubicBezTo>
                  <a:pt x="541" y="224"/>
                  <a:pt x="543" y="222"/>
                  <a:pt x="544" y="224"/>
                </a:cubicBezTo>
                <a:cubicBezTo>
                  <a:pt x="545" y="226"/>
                  <a:pt x="549" y="231"/>
                  <a:pt x="549" y="231"/>
                </a:cubicBezTo>
                <a:cubicBezTo>
                  <a:pt x="551" y="231"/>
                  <a:pt x="551" y="231"/>
                  <a:pt x="551" y="231"/>
                </a:cubicBezTo>
                <a:cubicBezTo>
                  <a:pt x="551" y="231"/>
                  <a:pt x="552" y="233"/>
                  <a:pt x="553" y="233"/>
                </a:cubicBezTo>
                <a:cubicBezTo>
                  <a:pt x="555" y="233"/>
                  <a:pt x="556" y="233"/>
                  <a:pt x="556" y="233"/>
                </a:cubicBezTo>
                <a:cubicBezTo>
                  <a:pt x="556" y="233"/>
                  <a:pt x="559" y="235"/>
                  <a:pt x="561" y="235"/>
                </a:cubicBezTo>
                <a:cubicBezTo>
                  <a:pt x="563" y="234"/>
                  <a:pt x="566" y="231"/>
                  <a:pt x="571" y="232"/>
                </a:cubicBezTo>
                <a:cubicBezTo>
                  <a:pt x="575" y="232"/>
                  <a:pt x="576" y="233"/>
                  <a:pt x="576" y="233"/>
                </a:cubicBezTo>
                <a:cubicBezTo>
                  <a:pt x="580" y="233"/>
                  <a:pt x="580" y="233"/>
                  <a:pt x="580" y="233"/>
                </a:cubicBezTo>
                <a:cubicBezTo>
                  <a:pt x="580" y="233"/>
                  <a:pt x="582" y="236"/>
                  <a:pt x="584" y="236"/>
                </a:cubicBezTo>
                <a:cubicBezTo>
                  <a:pt x="586" y="236"/>
                  <a:pt x="589" y="236"/>
                  <a:pt x="589" y="236"/>
                </a:cubicBezTo>
                <a:cubicBezTo>
                  <a:pt x="590" y="236"/>
                  <a:pt x="591" y="239"/>
                  <a:pt x="592" y="239"/>
                </a:cubicBezTo>
                <a:cubicBezTo>
                  <a:pt x="592" y="239"/>
                  <a:pt x="594" y="239"/>
                  <a:pt x="594" y="239"/>
                </a:cubicBezTo>
                <a:cubicBezTo>
                  <a:pt x="594" y="239"/>
                  <a:pt x="593" y="241"/>
                  <a:pt x="596" y="242"/>
                </a:cubicBezTo>
                <a:cubicBezTo>
                  <a:pt x="599" y="242"/>
                  <a:pt x="601" y="241"/>
                  <a:pt x="601" y="241"/>
                </a:cubicBezTo>
                <a:cubicBezTo>
                  <a:pt x="601" y="241"/>
                  <a:pt x="602" y="242"/>
                  <a:pt x="603" y="242"/>
                </a:cubicBezTo>
                <a:cubicBezTo>
                  <a:pt x="603" y="243"/>
                  <a:pt x="607" y="243"/>
                  <a:pt x="607" y="243"/>
                </a:cubicBezTo>
                <a:cubicBezTo>
                  <a:pt x="607" y="243"/>
                  <a:pt x="609" y="242"/>
                  <a:pt x="610" y="242"/>
                </a:cubicBezTo>
                <a:cubicBezTo>
                  <a:pt x="610" y="242"/>
                  <a:pt x="612" y="244"/>
                  <a:pt x="612" y="243"/>
                </a:cubicBezTo>
                <a:cubicBezTo>
                  <a:pt x="613" y="242"/>
                  <a:pt x="613" y="241"/>
                  <a:pt x="614" y="241"/>
                </a:cubicBezTo>
                <a:cubicBezTo>
                  <a:pt x="616" y="240"/>
                  <a:pt x="618" y="241"/>
                  <a:pt x="618" y="241"/>
                </a:cubicBezTo>
                <a:cubicBezTo>
                  <a:pt x="620" y="240"/>
                  <a:pt x="620" y="240"/>
                  <a:pt x="620" y="240"/>
                </a:cubicBezTo>
                <a:cubicBezTo>
                  <a:pt x="620" y="240"/>
                  <a:pt x="622" y="240"/>
                  <a:pt x="624" y="240"/>
                </a:cubicBezTo>
                <a:cubicBezTo>
                  <a:pt x="625" y="239"/>
                  <a:pt x="625" y="237"/>
                  <a:pt x="625" y="237"/>
                </a:cubicBezTo>
                <a:cubicBezTo>
                  <a:pt x="629" y="234"/>
                  <a:pt x="629" y="234"/>
                  <a:pt x="629" y="234"/>
                </a:cubicBezTo>
                <a:cubicBezTo>
                  <a:pt x="629" y="234"/>
                  <a:pt x="633" y="234"/>
                  <a:pt x="634" y="234"/>
                </a:cubicBezTo>
                <a:cubicBezTo>
                  <a:pt x="636" y="234"/>
                  <a:pt x="637" y="237"/>
                  <a:pt x="640" y="237"/>
                </a:cubicBezTo>
                <a:cubicBezTo>
                  <a:pt x="642" y="237"/>
                  <a:pt x="643" y="236"/>
                  <a:pt x="643" y="236"/>
                </a:cubicBezTo>
                <a:cubicBezTo>
                  <a:pt x="646" y="236"/>
                  <a:pt x="646" y="236"/>
                  <a:pt x="646" y="236"/>
                </a:cubicBezTo>
                <a:cubicBezTo>
                  <a:pt x="648" y="237"/>
                  <a:pt x="648" y="237"/>
                  <a:pt x="648" y="237"/>
                </a:cubicBezTo>
                <a:cubicBezTo>
                  <a:pt x="651" y="239"/>
                  <a:pt x="651" y="239"/>
                  <a:pt x="651" y="239"/>
                </a:cubicBezTo>
                <a:cubicBezTo>
                  <a:pt x="655" y="239"/>
                  <a:pt x="655" y="239"/>
                  <a:pt x="655" y="239"/>
                </a:cubicBezTo>
                <a:cubicBezTo>
                  <a:pt x="655" y="239"/>
                  <a:pt x="656" y="240"/>
                  <a:pt x="657" y="240"/>
                </a:cubicBezTo>
                <a:cubicBezTo>
                  <a:pt x="659" y="240"/>
                  <a:pt x="659" y="236"/>
                  <a:pt x="659" y="236"/>
                </a:cubicBezTo>
                <a:cubicBezTo>
                  <a:pt x="659" y="236"/>
                  <a:pt x="661" y="237"/>
                  <a:pt x="663" y="236"/>
                </a:cubicBezTo>
                <a:cubicBezTo>
                  <a:pt x="665" y="235"/>
                  <a:pt x="662" y="233"/>
                  <a:pt x="662" y="233"/>
                </a:cubicBezTo>
                <a:cubicBezTo>
                  <a:pt x="661" y="229"/>
                  <a:pt x="661" y="229"/>
                  <a:pt x="661" y="229"/>
                </a:cubicBezTo>
                <a:cubicBezTo>
                  <a:pt x="661" y="226"/>
                  <a:pt x="661" y="226"/>
                  <a:pt x="661" y="226"/>
                </a:cubicBezTo>
                <a:cubicBezTo>
                  <a:pt x="661" y="226"/>
                  <a:pt x="661" y="223"/>
                  <a:pt x="661" y="221"/>
                </a:cubicBezTo>
                <a:cubicBezTo>
                  <a:pt x="661" y="220"/>
                  <a:pt x="663" y="219"/>
                  <a:pt x="663" y="218"/>
                </a:cubicBezTo>
                <a:cubicBezTo>
                  <a:pt x="664" y="217"/>
                  <a:pt x="659" y="215"/>
                  <a:pt x="659" y="215"/>
                </a:cubicBezTo>
                <a:cubicBezTo>
                  <a:pt x="659" y="215"/>
                  <a:pt x="657" y="214"/>
                  <a:pt x="655" y="214"/>
                </a:cubicBezTo>
                <a:cubicBezTo>
                  <a:pt x="652" y="213"/>
                  <a:pt x="656" y="211"/>
                  <a:pt x="656" y="211"/>
                </a:cubicBezTo>
                <a:cubicBezTo>
                  <a:pt x="659" y="208"/>
                  <a:pt x="659" y="208"/>
                  <a:pt x="659" y="208"/>
                </a:cubicBezTo>
                <a:cubicBezTo>
                  <a:pt x="663" y="207"/>
                  <a:pt x="663" y="207"/>
                  <a:pt x="663" y="207"/>
                </a:cubicBezTo>
                <a:cubicBezTo>
                  <a:pt x="664" y="206"/>
                  <a:pt x="664" y="206"/>
                  <a:pt x="664" y="206"/>
                </a:cubicBezTo>
                <a:cubicBezTo>
                  <a:pt x="668" y="206"/>
                  <a:pt x="668" y="206"/>
                  <a:pt x="668" y="206"/>
                </a:cubicBezTo>
                <a:cubicBezTo>
                  <a:pt x="674" y="205"/>
                  <a:pt x="674" y="205"/>
                  <a:pt x="674" y="205"/>
                </a:cubicBezTo>
                <a:cubicBezTo>
                  <a:pt x="678" y="207"/>
                  <a:pt x="678" y="207"/>
                  <a:pt x="678" y="207"/>
                </a:cubicBezTo>
                <a:cubicBezTo>
                  <a:pt x="682" y="210"/>
                  <a:pt x="682" y="210"/>
                  <a:pt x="682" y="210"/>
                </a:cubicBezTo>
                <a:cubicBezTo>
                  <a:pt x="685" y="210"/>
                  <a:pt x="685" y="210"/>
                  <a:pt x="685" y="210"/>
                </a:cubicBezTo>
                <a:cubicBezTo>
                  <a:pt x="685" y="210"/>
                  <a:pt x="688" y="210"/>
                  <a:pt x="689" y="210"/>
                </a:cubicBezTo>
                <a:cubicBezTo>
                  <a:pt x="690" y="210"/>
                  <a:pt x="693" y="212"/>
                  <a:pt x="693" y="212"/>
                </a:cubicBezTo>
                <a:cubicBezTo>
                  <a:pt x="694" y="214"/>
                  <a:pt x="694" y="214"/>
                  <a:pt x="694" y="214"/>
                </a:cubicBezTo>
                <a:cubicBezTo>
                  <a:pt x="694" y="214"/>
                  <a:pt x="696" y="215"/>
                  <a:pt x="697" y="216"/>
                </a:cubicBezTo>
                <a:cubicBezTo>
                  <a:pt x="698" y="217"/>
                  <a:pt x="701" y="217"/>
                  <a:pt x="701" y="217"/>
                </a:cubicBezTo>
                <a:cubicBezTo>
                  <a:pt x="701" y="221"/>
                  <a:pt x="701" y="221"/>
                  <a:pt x="701" y="221"/>
                </a:cubicBezTo>
                <a:cubicBezTo>
                  <a:pt x="706" y="223"/>
                  <a:pt x="706" y="223"/>
                  <a:pt x="706" y="223"/>
                </a:cubicBezTo>
                <a:cubicBezTo>
                  <a:pt x="708" y="227"/>
                  <a:pt x="708" y="227"/>
                  <a:pt x="708" y="227"/>
                </a:cubicBezTo>
                <a:cubicBezTo>
                  <a:pt x="708" y="227"/>
                  <a:pt x="711" y="227"/>
                  <a:pt x="713" y="229"/>
                </a:cubicBezTo>
                <a:cubicBezTo>
                  <a:pt x="715" y="230"/>
                  <a:pt x="717" y="234"/>
                  <a:pt x="717" y="234"/>
                </a:cubicBezTo>
                <a:cubicBezTo>
                  <a:pt x="719" y="234"/>
                  <a:pt x="719" y="234"/>
                  <a:pt x="719" y="234"/>
                </a:cubicBezTo>
                <a:cubicBezTo>
                  <a:pt x="719" y="237"/>
                  <a:pt x="719" y="237"/>
                  <a:pt x="719" y="237"/>
                </a:cubicBezTo>
                <a:cubicBezTo>
                  <a:pt x="719" y="237"/>
                  <a:pt x="722" y="238"/>
                  <a:pt x="724" y="239"/>
                </a:cubicBezTo>
                <a:cubicBezTo>
                  <a:pt x="725" y="240"/>
                  <a:pt x="728" y="240"/>
                  <a:pt x="729" y="239"/>
                </a:cubicBezTo>
                <a:cubicBezTo>
                  <a:pt x="731" y="239"/>
                  <a:pt x="733" y="242"/>
                  <a:pt x="733" y="242"/>
                </a:cubicBezTo>
                <a:cubicBezTo>
                  <a:pt x="733" y="242"/>
                  <a:pt x="735" y="240"/>
                  <a:pt x="735" y="240"/>
                </a:cubicBezTo>
                <a:cubicBezTo>
                  <a:pt x="736" y="240"/>
                  <a:pt x="742" y="245"/>
                  <a:pt x="742" y="245"/>
                </a:cubicBezTo>
                <a:cubicBezTo>
                  <a:pt x="746" y="245"/>
                  <a:pt x="746" y="245"/>
                  <a:pt x="746" y="245"/>
                </a:cubicBezTo>
                <a:cubicBezTo>
                  <a:pt x="747" y="248"/>
                  <a:pt x="747" y="248"/>
                  <a:pt x="747" y="248"/>
                </a:cubicBezTo>
                <a:cubicBezTo>
                  <a:pt x="747" y="248"/>
                  <a:pt x="750" y="248"/>
                  <a:pt x="751" y="249"/>
                </a:cubicBezTo>
                <a:cubicBezTo>
                  <a:pt x="751" y="251"/>
                  <a:pt x="751" y="252"/>
                  <a:pt x="751" y="252"/>
                </a:cubicBezTo>
                <a:cubicBezTo>
                  <a:pt x="755" y="255"/>
                  <a:pt x="755" y="255"/>
                  <a:pt x="755" y="255"/>
                </a:cubicBezTo>
                <a:cubicBezTo>
                  <a:pt x="758" y="254"/>
                  <a:pt x="758" y="254"/>
                  <a:pt x="758" y="254"/>
                </a:cubicBezTo>
                <a:cubicBezTo>
                  <a:pt x="759" y="256"/>
                  <a:pt x="759" y="256"/>
                  <a:pt x="759" y="256"/>
                </a:cubicBezTo>
                <a:cubicBezTo>
                  <a:pt x="761" y="256"/>
                  <a:pt x="761" y="256"/>
                  <a:pt x="761" y="256"/>
                </a:cubicBezTo>
                <a:cubicBezTo>
                  <a:pt x="761" y="255"/>
                  <a:pt x="761" y="255"/>
                  <a:pt x="761" y="255"/>
                </a:cubicBezTo>
                <a:cubicBezTo>
                  <a:pt x="765" y="255"/>
                  <a:pt x="765" y="255"/>
                  <a:pt x="765" y="255"/>
                </a:cubicBezTo>
                <a:cubicBezTo>
                  <a:pt x="765" y="255"/>
                  <a:pt x="765" y="253"/>
                  <a:pt x="765" y="252"/>
                </a:cubicBezTo>
                <a:cubicBezTo>
                  <a:pt x="766" y="252"/>
                  <a:pt x="770" y="252"/>
                  <a:pt x="770" y="252"/>
                </a:cubicBezTo>
                <a:cubicBezTo>
                  <a:pt x="771" y="250"/>
                  <a:pt x="771" y="250"/>
                  <a:pt x="771" y="250"/>
                </a:cubicBezTo>
                <a:cubicBezTo>
                  <a:pt x="771" y="250"/>
                  <a:pt x="775" y="249"/>
                  <a:pt x="777" y="250"/>
                </a:cubicBezTo>
                <a:cubicBezTo>
                  <a:pt x="778" y="251"/>
                  <a:pt x="777" y="253"/>
                  <a:pt x="777" y="253"/>
                </a:cubicBezTo>
                <a:cubicBezTo>
                  <a:pt x="780" y="255"/>
                  <a:pt x="780" y="255"/>
                  <a:pt x="780" y="255"/>
                </a:cubicBezTo>
                <a:cubicBezTo>
                  <a:pt x="780" y="258"/>
                  <a:pt x="780" y="258"/>
                  <a:pt x="780" y="258"/>
                </a:cubicBezTo>
                <a:cubicBezTo>
                  <a:pt x="778" y="259"/>
                  <a:pt x="778" y="259"/>
                  <a:pt x="778" y="259"/>
                </a:cubicBezTo>
                <a:cubicBezTo>
                  <a:pt x="780" y="260"/>
                  <a:pt x="780" y="260"/>
                  <a:pt x="780" y="260"/>
                </a:cubicBezTo>
                <a:cubicBezTo>
                  <a:pt x="780" y="262"/>
                  <a:pt x="780" y="262"/>
                  <a:pt x="780" y="262"/>
                </a:cubicBezTo>
                <a:cubicBezTo>
                  <a:pt x="781" y="264"/>
                  <a:pt x="781" y="264"/>
                  <a:pt x="781" y="264"/>
                </a:cubicBezTo>
                <a:cubicBezTo>
                  <a:pt x="781" y="266"/>
                  <a:pt x="781" y="266"/>
                  <a:pt x="781" y="266"/>
                </a:cubicBezTo>
                <a:cubicBezTo>
                  <a:pt x="782" y="267"/>
                  <a:pt x="782" y="267"/>
                  <a:pt x="782" y="267"/>
                </a:cubicBezTo>
                <a:cubicBezTo>
                  <a:pt x="782" y="270"/>
                  <a:pt x="782" y="270"/>
                  <a:pt x="782" y="270"/>
                </a:cubicBezTo>
                <a:cubicBezTo>
                  <a:pt x="782" y="273"/>
                  <a:pt x="782" y="273"/>
                  <a:pt x="782" y="273"/>
                </a:cubicBezTo>
                <a:cubicBezTo>
                  <a:pt x="782" y="273"/>
                  <a:pt x="780" y="273"/>
                  <a:pt x="781" y="275"/>
                </a:cubicBezTo>
                <a:cubicBezTo>
                  <a:pt x="782" y="277"/>
                  <a:pt x="782" y="277"/>
                  <a:pt x="781" y="278"/>
                </a:cubicBezTo>
                <a:cubicBezTo>
                  <a:pt x="780" y="279"/>
                  <a:pt x="774" y="275"/>
                  <a:pt x="773" y="276"/>
                </a:cubicBezTo>
                <a:cubicBezTo>
                  <a:pt x="771" y="277"/>
                  <a:pt x="773" y="278"/>
                  <a:pt x="772" y="279"/>
                </a:cubicBezTo>
                <a:cubicBezTo>
                  <a:pt x="772" y="280"/>
                  <a:pt x="770" y="278"/>
                  <a:pt x="769" y="280"/>
                </a:cubicBezTo>
                <a:cubicBezTo>
                  <a:pt x="769" y="281"/>
                  <a:pt x="771" y="282"/>
                  <a:pt x="774" y="284"/>
                </a:cubicBezTo>
                <a:cubicBezTo>
                  <a:pt x="776" y="286"/>
                  <a:pt x="777" y="289"/>
                  <a:pt x="777" y="290"/>
                </a:cubicBezTo>
                <a:cubicBezTo>
                  <a:pt x="777" y="291"/>
                  <a:pt x="779" y="293"/>
                  <a:pt x="779" y="293"/>
                </a:cubicBezTo>
                <a:cubicBezTo>
                  <a:pt x="779" y="296"/>
                  <a:pt x="779" y="296"/>
                  <a:pt x="779" y="296"/>
                </a:cubicBezTo>
                <a:cubicBezTo>
                  <a:pt x="776" y="296"/>
                  <a:pt x="776" y="296"/>
                  <a:pt x="776" y="296"/>
                </a:cubicBezTo>
                <a:cubicBezTo>
                  <a:pt x="775" y="299"/>
                  <a:pt x="775" y="299"/>
                  <a:pt x="775" y="299"/>
                </a:cubicBezTo>
                <a:cubicBezTo>
                  <a:pt x="778" y="300"/>
                  <a:pt x="778" y="300"/>
                  <a:pt x="778" y="300"/>
                </a:cubicBezTo>
                <a:cubicBezTo>
                  <a:pt x="782" y="300"/>
                  <a:pt x="782" y="300"/>
                  <a:pt x="782" y="300"/>
                </a:cubicBezTo>
                <a:cubicBezTo>
                  <a:pt x="782" y="300"/>
                  <a:pt x="781" y="293"/>
                  <a:pt x="783" y="292"/>
                </a:cubicBezTo>
                <a:cubicBezTo>
                  <a:pt x="784" y="292"/>
                  <a:pt x="785" y="294"/>
                  <a:pt x="785" y="294"/>
                </a:cubicBezTo>
                <a:cubicBezTo>
                  <a:pt x="787" y="293"/>
                  <a:pt x="787" y="293"/>
                  <a:pt x="787" y="293"/>
                </a:cubicBezTo>
                <a:cubicBezTo>
                  <a:pt x="787" y="293"/>
                  <a:pt x="789" y="298"/>
                  <a:pt x="790" y="297"/>
                </a:cubicBezTo>
                <a:cubicBezTo>
                  <a:pt x="792" y="297"/>
                  <a:pt x="795" y="296"/>
                  <a:pt x="795" y="296"/>
                </a:cubicBezTo>
                <a:cubicBezTo>
                  <a:pt x="795" y="298"/>
                  <a:pt x="795" y="298"/>
                  <a:pt x="795" y="298"/>
                </a:cubicBezTo>
                <a:cubicBezTo>
                  <a:pt x="795" y="298"/>
                  <a:pt x="804" y="295"/>
                  <a:pt x="804" y="292"/>
                </a:cubicBezTo>
                <a:cubicBezTo>
                  <a:pt x="804" y="288"/>
                  <a:pt x="805" y="284"/>
                  <a:pt x="805" y="284"/>
                </a:cubicBezTo>
                <a:cubicBezTo>
                  <a:pt x="807" y="283"/>
                  <a:pt x="807" y="283"/>
                  <a:pt x="807" y="283"/>
                </a:cubicBezTo>
                <a:cubicBezTo>
                  <a:pt x="807" y="283"/>
                  <a:pt x="807" y="276"/>
                  <a:pt x="808" y="275"/>
                </a:cubicBezTo>
                <a:cubicBezTo>
                  <a:pt x="810" y="273"/>
                  <a:pt x="810" y="270"/>
                  <a:pt x="810" y="267"/>
                </a:cubicBezTo>
                <a:cubicBezTo>
                  <a:pt x="811" y="264"/>
                  <a:pt x="809" y="260"/>
                  <a:pt x="809" y="260"/>
                </a:cubicBezTo>
                <a:cubicBezTo>
                  <a:pt x="809" y="260"/>
                  <a:pt x="811" y="257"/>
                  <a:pt x="811" y="256"/>
                </a:cubicBezTo>
                <a:cubicBezTo>
                  <a:pt x="811" y="255"/>
                  <a:pt x="810" y="253"/>
                  <a:pt x="810" y="253"/>
                </a:cubicBezTo>
                <a:cubicBezTo>
                  <a:pt x="810" y="253"/>
                  <a:pt x="813" y="249"/>
                  <a:pt x="812" y="248"/>
                </a:cubicBezTo>
                <a:cubicBezTo>
                  <a:pt x="811" y="246"/>
                  <a:pt x="809" y="242"/>
                  <a:pt x="809" y="242"/>
                </a:cubicBezTo>
                <a:cubicBezTo>
                  <a:pt x="809" y="242"/>
                  <a:pt x="808" y="238"/>
                  <a:pt x="807" y="237"/>
                </a:cubicBezTo>
                <a:cubicBezTo>
                  <a:pt x="806" y="237"/>
                  <a:pt x="805" y="236"/>
                  <a:pt x="805" y="236"/>
                </a:cubicBezTo>
                <a:cubicBezTo>
                  <a:pt x="806" y="235"/>
                  <a:pt x="806" y="235"/>
                  <a:pt x="806" y="235"/>
                </a:cubicBezTo>
                <a:cubicBezTo>
                  <a:pt x="806" y="235"/>
                  <a:pt x="803" y="234"/>
                  <a:pt x="802" y="231"/>
                </a:cubicBezTo>
                <a:cubicBezTo>
                  <a:pt x="801" y="229"/>
                  <a:pt x="800" y="227"/>
                  <a:pt x="800" y="227"/>
                </a:cubicBezTo>
                <a:cubicBezTo>
                  <a:pt x="799" y="226"/>
                  <a:pt x="799" y="226"/>
                  <a:pt x="799" y="226"/>
                </a:cubicBezTo>
                <a:cubicBezTo>
                  <a:pt x="799" y="226"/>
                  <a:pt x="800" y="221"/>
                  <a:pt x="799" y="219"/>
                </a:cubicBezTo>
                <a:cubicBezTo>
                  <a:pt x="798" y="218"/>
                  <a:pt x="797" y="217"/>
                  <a:pt x="797" y="217"/>
                </a:cubicBezTo>
                <a:cubicBezTo>
                  <a:pt x="795" y="216"/>
                  <a:pt x="795" y="216"/>
                  <a:pt x="795" y="216"/>
                </a:cubicBezTo>
                <a:cubicBezTo>
                  <a:pt x="795" y="216"/>
                  <a:pt x="794" y="214"/>
                  <a:pt x="793" y="213"/>
                </a:cubicBezTo>
                <a:cubicBezTo>
                  <a:pt x="792" y="212"/>
                  <a:pt x="789" y="211"/>
                  <a:pt x="789" y="211"/>
                </a:cubicBezTo>
                <a:cubicBezTo>
                  <a:pt x="787" y="210"/>
                  <a:pt x="787" y="210"/>
                  <a:pt x="787" y="210"/>
                </a:cubicBezTo>
                <a:cubicBezTo>
                  <a:pt x="787" y="209"/>
                  <a:pt x="787" y="209"/>
                  <a:pt x="787" y="209"/>
                </a:cubicBezTo>
                <a:cubicBezTo>
                  <a:pt x="787" y="209"/>
                  <a:pt x="791" y="211"/>
                  <a:pt x="792" y="210"/>
                </a:cubicBezTo>
                <a:cubicBezTo>
                  <a:pt x="792" y="209"/>
                  <a:pt x="789" y="208"/>
                  <a:pt x="789" y="208"/>
                </a:cubicBezTo>
                <a:cubicBezTo>
                  <a:pt x="780" y="204"/>
                  <a:pt x="780" y="204"/>
                  <a:pt x="780" y="204"/>
                </a:cubicBezTo>
                <a:cubicBezTo>
                  <a:pt x="780" y="204"/>
                  <a:pt x="775" y="201"/>
                  <a:pt x="774" y="200"/>
                </a:cubicBezTo>
                <a:cubicBezTo>
                  <a:pt x="773" y="200"/>
                  <a:pt x="771" y="201"/>
                  <a:pt x="771" y="201"/>
                </a:cubicBezTo>
                <a:cubicBezTo>
                  <a:pt x="766" y="200"/>
                  <a:pt x="766" y="200"/>
                  <a:pt x="766" y="200"/>
                </a:cubicBezTo>
                <a:cubicBezTo>
                  <a:pt x="770" y="205"/>
                  <a:pt x="770" y="205"/>
                  <a:pt x="770" y="205"/>
                </a:cubicBezTo>
                <a:cubicBezTo>
                  <a:pt x="770" y="207"/>
                  <a:pt x="770" y="207"/>
                  <a:pt x="770" y="207"/>
                </a:cubicBezTo>
                <a:cubicBezTo>
                  <a:pt x="768" y="207"/>
                  <a:pt x="768" y="207"/>
                  <a:pt x="768" y="207"/>
                </a:cubicBezTo>
                <a:cubicBezTo>
                  <a:pt x="768" y="204"/>
                  <a:pt x="768" y="204"/>
                  <a:pt x="768" y="204"/>
                </a:cubicBezTo>
                <a:cubicBezTo>
                  <a:pt x="767" y="203"/>
                  <a:pt x="767" y="203"/>
                  <a:pt x="767" y="203"/>
                </a:cubicBezTo>
                <a:cubicBezTo>
                  <a:pt x="766" y="206"/>
                  <a:pt x="766" y="206"/>
                  <a:pt x="766" y="206"/>
                </a:cubicBezTo>
                <a:cubicBezTo>
                  <a:pt x="762" y="206"/>
                  <a:pt x="762" y="206"/>
                  <a:pt x="762" y="206"/>
                </a:cubicBezTo>
                <a:cubicBezTo>
                  <a:pt x="762" y="206"/>
                  <a:pt x="763" y="204"/>
                  <a:pt x="762" y="203"/>
                </a:cubicBezTo>
                <a:cubicBezTo>
                  <a:pt x="761" y="202"/>
                  <a:pt x="759" y="203"/>
                  <a:pt x="759" y="203"/>
                </a:cubicBezTo>
                <a:cubicBezTo>
                  <a:pt x="758" y="204"/>
                  <a:pt x="758" y="204"/>
                  <a:pt x="758" y="204"/>
                </a:cubicBezTo>
                <a:cubicBezTo>
                  <a:pt x="756" y="204"/>
                  <a:pt x="756" y="204"/>
                  <a:pt x="756" y="204"/>
                </a:cubicBezTo>
                <a:cubicBezTo>
                  <a:pt x="754" y="200"/>
                  <a:pt x="754" y="200"/>
                  <a:pt x="754" y="200"/>
                </a:cubicBezTo>
                <a:cubicBezTo>
                  <a:pt x="754" y="200"/>
                  <a:pt x="754" y="200"/>
                  <a:pt x="754" y="200"/>
                </a:cubicBezTo>
                <a:cubicBezTo>
                  <a:pt x="752" y="198"/>
                  <a:pt x="752" y="198"/>
                  <a:pt x="752" y="198"/>
                </a:cubicBezTo>
                <a:cubicBezTo>
                  <a:pt x="745" y="198"/>
                  <a:pt x="745" y="198"/>
                  <a:pt x="745" y="198"/>
                </a:cubicBezTo>
                <a:cubicBezTo>
                  <a:pt x="744" y="197"/>
                  <a:pt x="744" y="197"/>
                  <a:pt x="744" y="197"/>
                </a:cubicBezTo>
                <a:cubicBezTo>
                  <a:pt x="744" y="197"/>
                  <a:pt x="739" y="198"/>
                  <a:pt x="739" y="195"/>
                </a:cubicBezTo>
                <a:cubicBezTo>
                  <a:pt x="739" y="192"/>
                  <a:pt x="743" y="192"/>
                  <a:pt x="743" y="192"/>
                </a:cubicBezTo>
                <a:cubicBezTo>
                  <a:pt x="743" y="189"/>
                  <a:pt x="743" y="189"/>
                  <a:pt x="743" y="189"/>
                </a:cubicBezTo>
                <a:cubicBezTo>
                  <a:pt x="743" y="189"/>
                  <a:pt x="746" y="189"/>
                  <a:pt x="746" y="187"/>
                </a:cubicBezTo>
                <a:cubicBezTo>
                  <a:pt x="746" y="186"/>
                  <a:pt x="748" y="183"/>
                  <a:pt x="748" y="183"/>
                </a:cubicBezTo>
                <a:cubicBezTo>
                  <a:pt x="746" y="182"/>
                  <a:pt x="746" y="182"/>
                  <a:pt x="746" y="182"/>
                </a:cubicBezTo>
                <a:cubicBezTo>
                  <a:pt x="747" y="180"/>
                  <a:pt x="747" y="180"/>
                  <a:pt x="747" y="180"/>
                </a:cubicBezTo>
                <a:cubicBezTo>
                  <a:pt x="746" y="178"/>
                  <a:pt x="746" y="178"/>
                  <a:pt x="746" y="178"/>
                </a:cubicBezTo>
                <a:cubicBezTo>
                  <a:pt x="749" y="176"/>
                  <a:pt x="749" y="176"/>
                  <a:pt x="749" y="176"/>
                </a:cubicBezTo>
                <a:cubicBezTo>
                  <a:pt x="751" y="176"/>
                  <a:pt x="751" y="176"/>
                  <a:pt x="751" y="176"/>
                </a:cubicBezTo>
                <a:cubicBezTo>
                  <a:pt x="750" y="172"/>
                  <a:pt x="750" y="172"/>
                  <a:pt x="750" y="172"/>
                </a:cubicBezTo>
                <a:cubicBezTo>
                  <a:pt x="752" y="171"/>
                  <a:pt x="752" y="171"/>
                  <a:pt x="752" y="171"/>
                </a:cubicBezTo>
                <a:cubicBezTo>
                  <a:pt x="750" y="168"/>
                  <a:pt x="750" y="168"/>
                  <a:pt x="750" y="168"/>
                </a:cubicBezTo>
                <a:cubicBezTo>
                  <a:pt x="753" y="166"/>
                  <a:pt x="753" y="166"/>
                  <a:pt x="753" y="166"/>
                </a:cubicBezTo>
                <a:cubicBezTo>
                  <a:pt x="753" y="166"/>
                  <a:pt x="752" y="161"/>
                  <a:pt x="754" y="160"/>
                </a:cubicBezTo>
                <a:cubicBezTo>
                  <a:pt x="757" y="158"/>
                  <a:pt x="758" y="158"/>
                  <a:pt x="758" y="158"/>
                </a:cubicBezTo>
                <a:cubicBezTo>
                  <a:pt x="758" y="158"/>
                  <a:pt x="762" y="159"/>
                  <a:pt x="764" y="158"/>
                </a:cubicBezTo>
                <a:cubicBezTo>
                  <a:pt x="766" y="158"/>
                  <a:pt x="774" y="159"/>
                  <a:pt x="774" y="159"/>
                </a:cubicBezTo>
                <a:cubicBezTo>
                  <a:pt x="776" y="161"/>
                  <a:pt x="776" y="161"/>
                  <a:pt x="776" y="161"/>
                </a:cubicBezTo>
                <a:cubicBezTo>
                  <a:pt x="778" y="160"/>
                  <a:pt x="778" y="160"/>
                  <a:pt x="778" y="160"/>
                </a:cubicBezTo>
                <a:cubicBezTo>
                  <a:pt x="777" y="158"/>
                  <a:pt x="777" y="158"/>
                  <a:pt x="777" y="158"/>
                </a:cubicBezTo>
                <a:cubicBezTo>
                  <a:pt x="786" y="160"/>
                  <a:pt x="786" y="160"/>
                  <a:pt x="786" y="160"/>
                </a:cubicBezTo>
                <a:cubicBezTo>
                  <a:pt x="789" y="158"/>
                  <a:pt x="789" y="158"/>
                  <a:pt x="789" y="158"/>
                </a:cubicBezTo>
                <a:cubicBezTo>
                  <a:pt x="792" y="161"/>
                  <a:pt x="792" y="161"/>
                  <a:pt x="792" y="161"/>
                </a:cubicBezTo>
                <a:cubicBezTo>
                  <a:pt x="793" y="157"/>
                  <a:pt x="793" y="157"/>
                  <a:pt x="793" y="157"/>
                </a:cubicBezTo>
                <a:cubicBezTo>
                  <a:pt x="793" y="157"/>
                  <a:pt x="796" y="156"/>
                  <a:pt x="799" y="157"/>
                </a:cubicBezTo>
                <a:cubicBezTo>
                  <a:pt x="801" y="157"/>
                  <a:pt x="802" y="159"/>
                  <a:pt x="803" y="159"/>
                </a:cubicBezTo>
                <a:cubicBezTo>
                  <a:pt x="804" y="158"/>
                  <a:pt x="807" y="157"/>
                  <a:pt x="807" y="157"/>
                </a:cubicBezTo>
                <a:cubicBezTo>
                  <a:pt x="810" y="159"/>
                  <a:pt x="810" y="159"/>
                  <a:pt x="810" y="159"/>
                </a:cubicBezTo>
                <a:cubicBezTo>
                  <a:pt x="814" y="160"/>
                  <a:pt x="814" y="160"/>
                  <a:pt x="814" y="160"/>
                </a:cubicBezTo>
                <a:cubicBezTo>
                  <a:pt x="809" y="161"/>
                  <a:pt x="809" y="161"/>
                  <a:pt x="809" y="161"/>
                </a:cubicBezTo>
                <a:cubicBezTo>
                  <a:pt x="809" y="161"/>
                  <a:pt x="810" y="164"/>
                  <a:pt x="812" y="163"/>
                </a:cubicBezTo>
                <a:cubicBezTo>
                  <a:pt x="814" y="163"/>
                  <a:pt x="817" y="161"/>
                  <a:pt x="817" y="161"/>
                </a:cubicBezTo>
                <a:cubicBezTo>
                  <a:pt x="820" y="163"/>
                  <a:pt x="820" y="163"/>
                  <a:pt x="820" y="163"/>
                </a:cubicBezTo>
                <a:cubicBezTo>
                  <a:pt x="822" y="161"/>
                  <a:pt x="822" y="161"/>
                  <a:pt x="822" y="161"/>
                </a:cubicBezTo>
                <a:cubicBezTo>
                  <a:pt x="822" y="161"/>
                  <a:pt x="827" y="162"/>
                  <a:pt x="828" y="162"/>
                </a:cubicBezTo>
                <a:cubicBezTo>
                  <a:pt x="829" y="161"/>
                  <a:pt x="828" y="160"/>
                  <a:pt x="828" y="160"/>
                </a:cubicBezTo>
                <a:cubicBezTo>
                  <a:pt x="832" y="160"/>
                  <a:pt x="832" y="160"/>
                  <a:pt x="832" y="160"/>
                </a:cubicBezTo>
                <a:cubicBezTo>
                  <a:pt x="827" y="157"/>
                  <a:pt x="827" y="157"/>
                  <a:pt x="827" y="157"/>
                </a:cubicBezTo>
                <a:cubicBezTo>
                  <a:pt x="824" y="158"/>
                  <a:pt x="824" y="158"/>
                  <a:pt x="824" y="158"/>
                </a:cubicBezTo>
                <a:cubicBezTo>
                  <a:pt x="823" y="156"/>
                  <a:pt x="823" y="156"/>
                  <a:pt x="823" y="156"/>
                </a:cubicBezTo>
                <a:cubicBezTo>
                  <a:pt x="823" y="156"/>
                  <a:pt x="821" y="152"/>
                  <a:pt x="821" y="152"/>
                </a:cubicBezTo>
                <a:cubicBezTo>
                  <a:pt x="822" y="151"/>
                  <a:pt x="824" y="149"/>
                  <a:pt x="824" y="149"/>
                </a:cubicBezTo>
                <a:cubicBezTo>
                  <a:pt x="824" y="145"/>
                  <a:pt x="824" y="145"/>
                  <a:pt x="824" y="145"/>
                </a:cubicBezTo>
                <a:cubicBezTo>
                  <a:pt x="825" y="144"/>
                  <a:pt x="825" y="144"/>
                  <a:pt x="825" y="144"/>
                </a:cubicBezTo>
                <a:cubicBezTo>
                  <a:pt x="825" y="144"/>
                  <a:pt x="821" y="142"/>
                  <a:pt x="824" y="140"/>
                </a:cubicBezTo>
                <a:cubicBezTo>
                  <a:pt x="826" y="138"/>
                  <a:pt x="832" y="140"/>
                  <a:pt x="832" y="140"/>
                </a:cubicBezTo>
                <a:cubicBezTo>
                  <a:pt x="834" y="138"/>
                  <a:pt x="834" y="138"/>
                  <a:pt x="834" y="138"/>
                </a:cubicBezTo>
                <a:cubicBezTo>
                  <a:pt x="838" y="141"/>
                  <a:pt x="838" y="141"/>
                  <a:pt x="838" y="141"/>
                </a:cubicBezTo>
                <a:cubicBezTo>
                  <a:pt x="841" y="139"/>
                  <a:pt x="841" y="139"/>
                  <a:pt x="841" y="139"/>
                </a:cubicBezTo>
                <a:cubicBezTo>
                  <a:pt x="841" y="139"/>
                  <a:pt x="843" y="145"/>
                  <a:pt x="844" y="145"/>
                </a:cubicBezTo>
                <a:cubicBezTo>
                  <a:pt x="845" y="146"/>
                  <a:pt x="849" y="145"/>
                  <a:pt x="849" y="145"/>
                </a:cubicBezTo>
                <a:cubicBezTo>
                  <a:pt x="849" y="145"/>
                  <a:pt x="849" y="150"/>
                  <a:pt x="851" y="149"/>
                </a:cubicBezTo>
                <a:cubicBezTo>
                  <a:pt x="852" y="149"/>
                  <a:pt x="855" y="142"/>
                  <a:pt x="855" y="142"/>
                </a:cubicBezTo>
                <a:cubicBezTo>
                  <a:pt x="857" y="141"/>
                  <a:pt x="857" y="141"/>
                  <a:pt x="857" y="141"/>
                </a:cubicBezTo>
                <a:cubicBezTo>
                  <a:pt x="861" y="142"/>
                  <a:pt x="861" y="142"/>
                  <a:pt x="861" y="142"/>
                </a:cubicBezTo>
                <a:cubicBezTo>
                  <a:pt x="860" y="140"/>
                  <a:pt x="860" y="140"/>
                  <a:pt x="860" y="140"/>
                </a:cubicBezTo>
                <a:cubicBezTo>
                  <a:pt x="857" y="139"/>
                  <a:pt x="857" y="139"/>
                  <a:pt x="857" y="139"/>
                </a:cubicBezTo>
                <a:cubicBezTo>
                  <a:pt x="857" y="139"/>
                  <a:pt x="850" y="133"/>
                  <a:pt x="852" y="133"/>
                </a:cubicBezTo>
                <a:cubicBezTo>
                  <a:pt x="853" y="133"/>
                  <a:pt x="862" y="133"/>
                  <a:pt x="862" y="133"/>
                </a:cubicBezTo>
                <a:cubicBezTo>
                  <a:pt x="868" y="133"/>
                  <a:pt x="868" y="133"/>
                  <a:pt x="868" y="133"/>
                </a:cubicBezTo>
                <a:cubicBezTo>
                  <a:pt x="868" y="133"/>
                  <a:pt x="868" y="135"/>
                  <a:pt x="867" y="135"/>
                </a:cubicBezTo>
                <a:cubicBezTo>
                  <a:pt x="867" y="135"/>
                  <a:pt x="860" y="133"/>
                  <a:pt x="861" y="135"/>
                </a:cubicBezTo>
                <a:cubicBezTo>
                  <a:pt x="861" y="138"/>
                  <a:pt x="865" y="140"/>
                  <a:pt x="865" y="140"/>
                </a:cubicBezTo>
                <a:cubicBezTo>
                  <a:pt x="865" y="143"/>
                  <a:pt x="865" y="143"/>
                  <a:pt x="865" y="143"/>
                </a:cubicBezTo>
                <a:cubicBezTo>
                  <a:pt x="868" y="143"/>
                  <a:pt x="868" y="143"/>
                  <a:pt x="868" y="143"/>
                </a:cubicBezTo>
                <a:cubicBezTo>
                  <a:pt x="868" y="145"/>
                  <a:pt x="868" y="145"/>
                  <a:pt x="868" y="145"/>
                </a:cubicBezTo>
                <a:cubicBezTo>
                  <a:pt x="870" y="147"/>
                  <a:pt x="870" y="147"/>
                  <a:pt x="870" y="147"/>
                </a:cubicBezTo>
                <a:cubicBezTo>
                  <a:pt x="867" y="147"/>
                  <a:pt x="867" y="147"/>
                  <a:pt x="867" y="147"/>
                </a:cubicBezTo>
                <a:cubicBezTo>
                  <a:pt x="866" y="149"/>
                  <a:pt x="866" y="149"/>
                  <a:pt x="866" y="149"/>
                </a:cubicBezTo>
                <a:cubicBezTo>
                  <a:pt x="864" y="150"/>
                  <a:pt x="864" y="150"/>
                  <a:pt x="864" y="150"/>
                </a:cubicBezTo>
                <a:cubicBezTo>
                  <a:pt x="864" y="150"/>
                  <a:pt x="866" y="154"/>
                  <a:pt x="865" y="155"/>
                </a:cubicBezTo>
                <a:cubicBezTo>
                  <a:pt x="864" y="157"/>
                  <a:pt x="862" y="161"/>
                  <a:pt x="862" y="162"/>
                </a:cubicBezTo>
                <a:cubicBezTo>
                  <a:pt x="862" y="163"/>
                  <a:pt x="865" y="164"/>
                  <a:pt x="863" y="167"/>
                </a:cubicBezTo>
                <a:cubicBezTo>
                  <a:pt x="861" y="169"/>
                  <a:pt x="857" y="170"/>
                  <a:pt x="857" y="170"/>
                </a:cubicBezTo>
                <a:cubicBezTo>
                  <a:pt x="858" y="172"/>
                  <a:pt x="858" y="172"/>
                  <a:pt x="858" y="172"/>
                </a:cubicBezTo>
                <a:cubicBezTo>
                  <a:pt x="856" y="172"/>
                  <a:pt x="856" y="172"/>
                  <a:pt x="856" y="172"/>
                </a:cubicBezTo>
                <a:cubicBezTo>
                  <a:pt x="856" y="172"/>
                  <a:pt x="860" y="174"/>
                  <a:pt x="859" y="176"/>
                </a:cubicBezTo>
                <a:cubicBezTo>
                  <a:pt x="859" y="179"/>
                  <a:pt x="858" y="181"/>
                  <a:pt x="859" y="184"/>
                </a:cubicBezTo>
                <a:cubicBezTo>
                  <a:pt x="860" y="186"/>
                  <a:pt x="871" y="195"/>
                  <a:pt x="871" y="195"/>
                </a:cubicBezTo>
                <a:cubicBezTo>
                  <a:pt x="877" y="202"/>
                  <a:pt x="877" y="202"/>
                  <a:pt x="877" y="202"/>
                </a:cubicBezTo>
                <a:cubicBezTo>
                  <a:pt x="879" y="201"/>
                  <a:pt x="879" y="201"/>
                  <a:pt x="879" y="201"/>
                </a:cubicBezTo>
                <a:cubicBezTo>
                  <a:pt x="887" y="212"/>
                  <a:pt x="887" y="212"/>
                  <a:pt x="887" y="212"/>
                </a:cubicBezTo>
                <a:cubicBezTo>
                  <a:pt x="893" y="213"/>
                  <a:pt x="893" y="213"/>
                  <a:pt x="893" y="213"/>
                </a:cubicBezTo>
                <a:cubicBezTo>
                  <a:pt x="895" y="216"/>
                  <a:pt x="895" y="216"/>
                  <a:pt x="895" y="216"/>
                </a:cubicBezTo>
                <a:cubicBezTo>
                  <a:pt x="895" y="216"/>
                  <a:pt x="901" y="224"/>
                  <a:pt x="903" y="225"/>
                </a:cubicBezTo>
                <a:cubicBezTo>
                  <a:pt x="904" y="225"/>
                  <a:pt x="905" y="225"/>
                  <a:pt x="905" y="225"/>
                </a:cubicBezTo>
                <a:cubicBezTo>
                  <a:pt x="905" y="225"/>
                  <a:pt x="904" y="228"/>
                  <a:pt x="907" y="227"/>
                </a:cubicBezTo>
                <a:cubicBezTo>
                  <a:pt x="909" y="226"/>
                  <a:pt x="909" y="224"/>
                  <a:pt x="909" y="224"/>
                </a:cubicBezTo>
                <a:cubicBezTo>
                  <a:pt x="908" y="223"/>
                  <a:pt x="908" y="223"/>
                  <a:pt x="908" y="223"/>
                </a:cubicBezTo>
                <a:cubicBezTo>
                  <a:pt x="908" y="223"/>
                  <a:pt x="910" y="220"/>
                  <a:pt x="910" y="218"/>
                </a:cubicBezTo>
                <a:cubicBezTo>
                  <a:pt x="909" y="217"/>
                  <a:pt x="904" y="214"/>
                  <a:pt x="905" y="212"/>
                </a:cubicBezTo>
                <a:cubicBezTo>
                  <a:pt x="907" y="210"/>
                  <a:pt x="908" y="209"/>
                  <a:pt x="909" y="208"/>
                </a:cubicBezTo>
                <a:cubicBezTo>
                  <a:pt x="909" y="208"/>
                  <a:pt x="912" y="210"/>
                  <a:pt x="912" y="210"/>
                </a:cubicBezTo>
                <a:cubicBezTo>
                  <a:pt x="912" y="210"/>
                  <a:pt x="909" y="205"/>
                  <a:pt x="908" y="205"/>
                </a:cubicBezTo>
                <a:cubicBezTo>
                  <a:pt x="907" y="204"/>
                  <a:pt x="904" y="203"/>
                  <a:pt x="905" y="201"/>
                </a:cubicBezTo>
                <a:cubicBezTo>
                  <a:pt x="905" y="198"/>
                  <a:pt x="908" y="197"/>
                  <a:pt x="908" y="197"/>
                </a:cubicBezTo>
                <a:cubicBezTo>
                  <a:pt x="908" y="197"/>
                  <a:pt x="913" y="199"/>
                  <a:pt x="913" y="197"/>
                </a:cubicBezTo>
                <a:cubicBezTo>
                  <a:pt x="912" y="194"/>
                  <a:pt x="910" y="194"/>
                  <a:pt x="908" y="193"/>
                </a:cubicBezTo>
                <a:cubicBezTo>
                  <a:pt x="905" y="191"/>
                  <a:pt x="903" y="188"/>
                  <a:pt x="903" y="186"/>
                </a:cubicBezTo>
                <a:cubicBezTo>
                  <a:pt x="902" y="185"/>
                  <a:pt x="901" y="183"/>
                  <a:pt x="901" y="183"/>
                </a:cubicBezTo>
                <a:cubicBezTo>
                  <a:pt x="903" y="182"/>
                  <a:pt x="903" y="182"/>
                  <a:pt x="903" y="182"/>
                </a:cubicBezTo>
                <a:cubicBezTo>
                  <a:pt x="903" y="182"/>
                  <a:pt x="907" y="186"/>
                  <a:pt x="908" y="185"/>
                </a:cubicBezTo>
                <a:cubicBezTo>
                  <a:pt x="909" y="185"/>
                  <a:pt x="905" y="180"/>
                  <a:pt x="905" y="180"/>
                </a:cubicBezTo>
                <a:cubicBezTo>
                  <a:pt x="901" y="180"/>
                  <a:pt x="901" y="180"/>
                  <a:pt x="901" y="180"/>
                </a:cubicBezTo>
                <a:cubicBezTo>
                  <a:pt x="896" y="175"/>
                  <a:pt x="896" y="175"/>
                  <a:pt x="896" y="175"/>
                </a:cubicBezTo>
                <a:cubicBezTo>
                  <a:pt x="896" y="175"/>
                  <a:pt x="896" y="172"/>
                  <a:pt x="894" y="171"/>
                </a:cubicBezTo>
                <a:cubicBezTo>
                  <a:pt x="891" y="170"/>
                  <a:pt x="889" y="170"/>
                  <a:pt x="889" y="170"/>
                </a:cubicBezTo>
                <a:cubicBezTo>
                  <a:pt x="889" y="172"/>
                  <a:pt x="889" y="172"/>
                  <a:pt x="889" y="172"/>
                </a:cubicBezTo>
                <a:cubicBezTo>
                  <a:pt x="889" y="172"/>
                  <a:pt x="882" y="170"/>
                  <a:pt x="882" y="167"/>
                </a:cubicBezTo>
                <a:cubicBezTo>
                  <a:pt x="882" y="165"/>
                  <a:pt x="883" y="163"/>
                  <a:pt x="882" y="161"/>
                </a:cubicBezTo>
                <a:cubicBezTo>
                  <a:pt x="881" y="158"/>
                  <a:pt x="878" y="157"/>
                  <a:pt x="878" y="157"/>
                </a:cubicBezTo>
                <a:cubicBezTo>
                  <a:pt x="878" y="157"/>
                  <a:pt x="879" y="154"/>
                  <a:pt x="879" y="154"/>
                </a:cubicBezTo>
                <a:cubicBezTo>
                  <a:pt x="880" y="154"/>
                  <a:pt x="881" y="155"/>
                  <a:pt x="881" y="155"/>
                </a:cubicBezTo>
                <a:cubicBezTo>
                  <a:pt x="883" y="153"/>
                  <a:pt x="883" y="153"/>
                  <a:pt x="883" y="153"/>
                </a:cubicBezTo>
                <a:cubicBezTo>
                  <a:pt x="887" y="156"/>
                  <a:pt x="887" y="156"/>
                  <a:pt x="887" y="156"/>
                </a:cubicBezTo>
                <a:cubicBezTo>
                  <a:pt x="888" y="155"/>
                  <a:pt x="888" y="155"/>
                  <a:pt x="888" y="155"/>
                </a:cubicBezTo>
                <a:cubicBezTo>
                  <a:pt x="886" y="154"/>
                  <a:pt x="886" y="154"/>
                  <a:pt x="886" y="154"/>
                </a:cubicBezTo>
                <a:cubicBezTo>
                  <a:pt x="886" y="154"/>
                  <a:pt x="887" y="149"/>
                  <a:pt x="889" y="150"/>
                </a:cubicBezTo>
                <a:cubicBezTo>
                  <a:pt x="891" y="151"/>
                  <a:pt x="895" y="156"/>
                  <a:pt x="895" y="156"/>
                </a:cubicBezTo>
                <a:cubicBezTo>
                  <a:pt x="896" y="151"/>
                  <a:pt x="896" y="151"/>
                  <a:pt x="896" y="151"/>
                </a:cubicBezTo>
                <a:cubicBezTo>
                  <a:pt x="896" y="151"/>
                  <a:pt x="905" y="150"/>
                  <a:pt x="907" y="150"/>
                </a:cubicBezTo>
                <a:cubicBezTo>
                  <a:pt x="908" y="150"/>
                  <a:pt x="914" y="153"/>
                  <a:pt x="914" y="153"/>
                </a:cubicBezTo>
                <a:cubicBezTo>
                  <a:pt x="919" y="155"/>
                  <a:pt x="919" y="155"/>
                  <a:pt x="919" y="155"/>
                </a:cubicBezTo>
                <a:cubicBezTo>
                  <a:pt x="916" y="148"/>
                  <a:pt x="916" y="148"/>
                  <a:pt x="916" y="148"/>
                </a:cubicBezTo>
                <a:cubicBezTo>
                  <a:pt x="916" y="148"/>
                  <a:pt x="921" y="148"/>
                  <a:pt x="921" y="147"/>
                </a:cubicBezTo>
                <a:cubicBezTo>
                  <a:pt x="922" y="145"/>
                  <a:pt x="920" y="142"/>
                  <a:pt x="920" y="142"/>
                </a:cubicBezTo>
                <a:cubicBezTo>
                  <a:pt x="922" y="142"/>
                  <a:pt x="922" y="142"/>
                  <a:pt x="922" y="142"/>
                </a:cubicBezTo>
                <a:cubicBezTo>
                  <a:pt x="922" y="139"/>
                  <a:pt x="922" y="139"/>
                  <a:pt x="922" y="139"/>
                </a:cubicBezTo>
                <a:cubicBezTo>
                  <a:pt x="922" y="139"/>
                  <a:pt x="929" y="141"/>
                  <a:pt x="930" y="138"/>
                </a:cubicBezTo>
                <a:cubicBezTo>
                  <a:pt x="931" y="136"/>
                  <a:pt x="934" y="134"/>
                  <a:pt x="934" y="134"/>
                </a:cubicBezTo>
                <a:cubicBezTo>
                  <a:pt x="932" y="131"/>
                  <a:pt x="932" y="131"/>
                  <a:pt x="932" y="131"/>
                </a:cubicBezTo>
                <a:cubicBezTo>
                  <a:pt x="935" y="132"/>
                  <a:pt x="935" y="132"/>
                  <a:pt x="935" y="132"/>
                </a:cubicBezTo>
                <a:cubicBezTo>
                  <a:pt x="936" y="134"/>
                  <a:pt x="936" y="134"/>
                  <a:pt x="936" y="134"/>
                </a:cubicBezTo>
                <a:cubicBezTo>
                  <a:pt x="942" y="134"/>
                  <a:pt x="942" y="134"/>
                  <a:pt x="942" y="134"/>
                </a:cubicBezTo>
                <a:cubicBezTo>
                  <a:pt x="942" y="134"/>
                  <a:pt x="949" y="136"/>
                  <a:pt x="949" y="135"/>
                </a:cubicBezTo>
                <a:cubicBezTo>
                  <a:pt x="949" y="134"/>
                  <a:pt x="948" y="132"/>
                  <a:pt x="948" y="132"/>
                </a:cubicBezTo>
                <a:cubicBezTo>
                  <a:pt x="944" y="131"/>
                  <a:pt x="944" y="131"/>
                  <a:pt x="944" y="131"/>
                </a:cubicBezTo>
                <a:cubicBezTo>
                  <a:pt x="944" y="129"/>
                  <a:pt x="944" y="129"/>
                  <a:pt x="944" y="129"/>
                </a:cubicBezTo>
                <a:cubicBezTo>
                  <a:pt x="944" y="129"/>
                  <a:pt x="938" y="127"/>
                  <a:pt x="936" y="126"/>
                </a:cubicBezTo>
                <a:cubicBezTo>
                  <a:pt x="934" y="126"/>
                  <a:pt x="932" y="127"/>
                  <a:pt x="932" y="127"/>
                </a:cubicBezTo>
                <a:cubicBezTo>
                  <a:pt x="933" y="125"/>
                  <a:pt x="933" y="125"/>
                  <a:pt x="933" y="125"/>
                </a:cubicBezTo>
                <a:cubicBezTo>
                  <a:pt x="925" y="119"/>
                  <a:pt x="925" y="119"/>
                  <a:pt x="925" y="119"/>
                </a:cubicBezTo>
                <a:cubicBezTo>
                  <a:pt x="923" y="121"/>
                  <a:pt x="923" y="121"/>
                  <a:pt x="923" y="121"/>
                </a:cubicBezTo>
                <a:cubicBezTo>
                  <a:pt x="923" y="121"/>
                  <a:pt x="920" y="120"/>
                  <a:pt x="919" y="120"/>
                </a:cubicBezTo>
                <a:cubicBezTo>
                  <a:pt x="918" y="119"/>
                  <a:pt x="916" y="118"/>
                  <a:pt x="916" y="118"/>
                </a:cubicBezTo>
                <a:cubicBezTo>
                  <a:pt x="912" y="119"/>
                  <a:pt x="912" y="119"/>
                  <a:pt x="912" y="119"/>
                </a:cubicBezTo>
                <a:cubicBezTo>
                  <a:pt x="909" y="118"/>
                  <a:pt x="909" y="118"/>
                  <a:pt x="909" y="118"/>
                </a:cubicBezTo>
                <a:cubicBezTo>
                  <a:pt x="909" y="118"/>
                  <a:pt x="904" y="115"/>
                  <a:pt x="906" y="115"/>
                </a:cubicBezTo>
                <a:cubicBezTo>
                  <a:pt x="908" y="114"/>
                  <a:pt x="910" y="115"/>
                  <a:pt x="911" y="116"/>
                </a:cubicBezTo>
                <a:cubicBezTo>
                  <a:pt x="913" y="116"/>
                  <a:pt x="920" y="117"/>
                  <a:pt x="920" y="117"/>
                </a:cubicBezTo>
                <a:cubicBezTo>
                  <a:pt x="920" y="117"/>
                  <a:pt x="928" y="115"/>
                  <a:pt x="928" y="114"/>
                </a:cubicBezTo>
                <a:cubicBezTo>
                  <a:pt x="928" y="113"/>
                  <a:pt x="923" y="110"/>
                  <a:pt x="923" y="110"/>
                </a:cubicBezTo>
                <a:cubicBezTo>
                  <a:pt x="922" y="109"/>
                  <a:pt x="915" y="107"/>
                  <a:pt x="917" y="105"/>
                </a:cubicBezTo>
                <a:cubicBezTo>
                  <a:pt x="919" y="104"/>
                  <a:pt x="923" y="107"/>
                  <a:pt x="923" y="107"/>
                </a:cubicBezTo>
                <a:cubicBezTo>
                  <a:pt x="923" y="107"/>
                  <a:pt x="931" y="112"/>
                  <a:pt x="933" y="111"/>
                </a:cubicBezTo>
                <a:cubicBezTo>
                  <a:pt x="936" y="111"/>
                  <a:pt x="936" y="109"/>
                  <a:pt x="943" y="111"/>
                </a:cubicBezTo>
                <a:cubicBezTo>
                  <a:pt x="949" y="113"/>
                  <a:pt x="954" y="115"/>
                  <a:pt x="956" y="115"/>
                </a:cubicBezTo>
                <a:cubicBezTo>
                  <a:pt x="958" y="116"/>
                  <a:pt x="965" y="118"/>
                  <a:pt x="965" y="118"/>
                </a:cubicBezTo>
                <a:cubicBezTo>
                  <a:pt x="965" y="118"/>
                  <a:pt x="974" y="123"/>
                  <a:pt x="974" y="120"/>
                </a:cubicBezTo>
                <a:cubicBezTo>
                  <a:pt x="973" y="118"/>
                  <a:pt x="970" y="116"/>
                  <a:pt x="970" y="116"/>
                </a:cubicBezTo>
                <a:cubicBezTo>
                  <a:pt x="972" y="114"/>
                  <a:pt x="972" y="114"/>
                  <a:pt x="972" y="114"/>
                </a:cubicBezTo>
                <a:cubicBezTo>
                  <a:pt x="967" y="112"/>
                  <a:pt x="967" y="112"/>
                  <a:pt x="967" y="112"/>
                </a:cubicBezTo>
                <a:cubicBezTo>
                  <a:pt x="968" y="112"/>
                  <a:pt x="968" y="112"/>
                  <a:pt x="968" y="112"/>
                </a:cubicBezTo>
                <a:cubicBezTo>
                  <a:pt x="963" y="109"/>
                  <a:pt x="963" y="109"/>
                  <a:pt x="963" y="109"/>
                </a:cubicBezTo>
                <a:cubicBezTo>
                  <a:pt x="968" y="110"/>
                  <a:pt x="968" y="110"/>
                  <a:pt x="968" y="110"/>
                </a:cubicBezTo>
                <a:cubicBezTo>
                  <a:pt x="968" y="108"/>
                  <a:pt x="968" y="108"/>
                  <a:pt x="968" y="108"/>
                </a:cubicBezTo>
                <a:cubicBezTo>
                  <a:pt x="968" y="108"/>
                  <a:pt x="976" y="110"/>
                  <a:pt x="974" y="107"/>
                </a:cubicBezTo>
                <a:close/>
                <a:moveTo>
                  <a:pt x="577" y="209"/>
                </a:moveTo>
                <a:cubicBezTo>
                  <a:pt x="577" y="209"/>
                  <a:pt x="577" y="211"/>
                  <a:pt x="576" y="211"/>
                </a:cubicBezTo>
                <a:cubicBezTo>
                  <a:pt x="576" y="212"/>
                  <a:pt x="574" y="213"/>
                  <a:pt x="574" y="213"/>
                </a:cubicBezTo>
                <a:cubicBezTo>
                  <a:pt x="574" y="213"/>
                  <a:pt x="572" y="214"/>
                  <a:pt x="572" y="214"/>
                </a:cubicBezTo>
                <a:cubicBezTo>
                  <a:pt x="571" y="214"/>
                  <a:pt x="571" y="216"/>
                  <a:pt x="571" y="216"/>
                </a:cubicBezTo>
                <a:cubicBezTo>
                  <a:pt x="571" y="216"/>
                  <a:pt x="571" y="215"/>
                  <a:pt x="567" y="216"/>
                </a:cubicBezTo>
                <a:cubicBezTo>
                  <a:pt x="564" y="217"/>
                  <a:pt x="569" y="218"/>
                  <a:pt x="569" y="218"/>
                </a:cubicBezTo>
                <a:cubicBezTo>
                  <a:pt x="569" y="218"/>
                  <a:pt x="567" y="220"/>
                  <a:pt x="567" y="221"/>
                </a:cubicBezTo>
                <a:cubicBezTo>
                  <a:pt x="566" y="223"/>
                  <a:pt x="564" y="221"/>
                  <a:pt x="564" y="221"/>
                </a:cubicBezTo>
                <a:cubicBezTo>
                  <a:pt x="564" y="221"/>
                  <a:pt x="564" y="224"/>
                  <a:pt x="560" y="224"/>
                </a:cubicBezTo>
                <a:cubicBezTo>
                  <a:pt x="557" y="224"/>
                  <a:pt x="557" y="223"/>
                  <a:pt x="557" y="223"/>
                </a:cubicBezTo>
                <a:cubicBezTo>
                  <a:pt x="553" y="222"/>
                  <a:pt x="553" y="222"/>
                  <a:pt x="553" y="222"/>
                </a:cubicBezTo>
                <a:cubicBezTo>
                  <a:pt x="555" y="221"/>
                  <a:pt x="555" y="221"/>
                  <a:pt x="555" y="221"/>
                </a:cubicBezTo>
                <a:cubicBezTo>
                  <a:pt x="559" y="221"/>
                  <a:pt x="559" y="221"/>
                  <a:pt x="559" y="221"/>
                </a:cubicBezTo>
                <a:cubicBezTo>
                  <a:pt x="559" y="220"/>
                  <a:pt x="559" y="220"/>
                  <a:pt x="559" y="220"/>
                </a:cubicBezTo>
                <a:cubicBezTo>
                  <a:pt x="559" y="220"/>
                  <a:pt x="561" y="220"/>
                  <a:pt x="563" y="219"/>
                </a:cubicBezTo>
                <a:cubicBezTo>
                  <a:pt x="564" y="218"/>
                  <a:pt x="564" y="215"/>
                  <a:pt x="564" y="215"/>
                </a:cubicBezTo>
                <a:cubicBezTo>
                  <a:pt x="564" y="215"/>
                  <a:pt x="564" y="215"/>
                  <a:pt x="566" y="214"/>
                </a:cubicBezTo>
                <a:cubicBezTo>
                  <a:pt x="567" y="214"/>
                  <a:pt x="567" y="212"/>
                  <a:pt x="567" y="212"/>
                </a:cubicBezTo>
                <a:cubicBezTo>
                  <a:pt x="567" y="212"/>
                  <a:pt x="566" y="211"/>
                  <a:pt x="566" y="210"/>
                </a:cubicBezTo>
                <a:cubicBezTo>
                  <a:pt x="566" y="209"/>
                  <a:pt x="570" y="206"/>
                  <a:pt x="570" y="206"/>
                </a:cubicBezTo>
                <a:cubicBezTo>
                  <a:pt x="570" y="205"/>
                  <a:pt x="570" y="205"/>
                  <a:pt x="570" y="205"/>
                </a:cubicBezTo>
                <a:cubicBezTo>
                  <a:pt x="572" y="202"/>
                  <a:pt x="572" y="202"/>
                  <a:pt x="572" y="202"/>
                </a:cubicBezTo>
                <a:cubicBezTo>
                  <a:pt x="571" y="201"/>
                  <a:pt x="571" y="201"/>
                  <a:pt x="571" y="201"/>
                </a:cubicBezTo>
                <a:cubicBezTo>
                  <a:pt x="570" y="192"/>
                  <a:pt x="570" y="192"/>
                  <a:pt x="570" y="192"/>
                </a:cubicBezTo>
                <a:cubicBezTo>
                  <a:pt x="570" y="192"/>
                  <a:pt x="568" y="189"/>
                  <a:pt x="571" y="188"/>
                </a:cubicBezTo>
                <a:cubicBezTo>
                  <a:pt x="574" y="187"/>
                  <a:pt x="573" y="191"/>
                  <a:pt x="573" y="191"/>
                </a:cubicBezTo>
                <a:cubicBezTo>
                  <a:pt x="573" y="191"/>
                  <a:pt x="575" y="192"/>
                  <a:pt x="575" y="195"/>
                </a:cubicBezTo>
                <a:cubicBezTo>
                  <a:pt x="576" y="197"/>
                  <a:pt x="577" y="199"/>
                  <a:pt x="577" y="199"/>
                </a:cubicBezTo>
                <a:cubicBezTo>
                  <a:pt x="579" y="202"/>
                  <a:pt x="579" y="202"/>
                  <a:pt x="579" y="202"/>
                </a:cubicBezTo>
                <a:cubicBezTo>
                  <a:pt x="578" y="204"/>
                  <a:pt x="578" y="204"/>
                  <a:pt x="578" y="204"/>
                </a:cubicBezTo>
                <a:cubicBezTo>
                  <a:pt x="578" y="204"/>
                  <a:pt x="576" y="205"/>
                  <a:pt x="576" y="206"/>
                </a:cubicBezTo>
                <a:cubicBezTo>
                  <a:pt x="576" y="207"/>
                  <a:pt x="579" y="206"/>
                  <a:pt x="579" y="206"/>
                </a:cubicBezTo>
                <a:cubicBezTo>
                  <a:pt x="579" y="207"/>
                  <a:pt x="579" y="207"/>
                  <a:pt x="579" y="207"/>
                </a:cubicBezTo>
                <a:lnTo>
                  <a:pt x="577" y="209"/>
                </a:lnTo>
                <a:close/>
                <a:moveTo>
                  <a:pt x="18" y="193"/>
                </a:moveTo>
                <a:cubicBezTo>
                  <a:pt x="16" y="193"/>
                  <a:pt x="13" y="194"/>
                  <a:pt x="13" y="194"/>
                </a:cubicBezTo>
                <a:cubicBezTo>
                  <a:pt x="12" y="193"/>
                  <a:pt x="12" y="193"/>
                  <a:pt x="12" y="193"/>
                </a:cubicBezTo>
                <a:cubicBezTo>
                  <a:pt x="11" y="193"/>
                  <a:pt x="11" y="193"/>
                  <a:pt x="11" y="193"/>
                </a:cubicBezTo>
                <a:cubicBezTo>
                  <a:pt x="10" y="192"/>
                  <a:pt x="10" y="192"/>
                  <a:pt x="10" y="192"/>
                </a:cubicBezTo>
                <a:cubicBezTo>
                  <a:pt x="10" y="192"/>
                  <a:pt x="10" y="192"/>
                  <a:pt x="10" y="192"/>
                </a:cubicBezTo>
                <a:cubicBezTo>
                  <a:pt x="10" y="193"/>
                  <a:pt x="8" y="194"/>
                  <a:pt x="8" y="194"/>
                </a:cubicBezTo>
                <a:cubicBezTo>
                  <a:pt x="8" y="194"/>
                  <a:pt x="2" y="194"/>
                  <a:pt x="1" y="195"/>
                </a:cubicBezTo>
                <a:cubicBezTo>
                  <a:pt x="0" y="196"/>
                  <a:pt x="2" y="197"/>
                  <a:pt x="2" y="197"/>
                </a:cubicBezTo>
                <a:cubicBezTo>
                  <a:pt x="1" y="198"/>
                  <a:pt x="1" y="199"/>
                  <a:pt x="1" y="199"/>
                </a:cubicBezTo>
                <a:cubicBezTo>
                  <a:pt x="2" y="199"/>
                  <a:pt x="2" y="199"/>
                  <a:pt x="2" y="199"/>
                </a:cubicBezTo>
                <a:cubicBezTo>
                  <a:pt x="2" y="199"/>
                  <a:pt x="4" y="199"/>
                  <a:pt x="5" y="199"/>
                </a:cubicBezTo>
                <a:cubicBezTo>
                  <a:pt x="7" y="199"/>
                  <a:pt x="8" y="200"/>
                  <a:pt x="8" y="200"/>
                </a:cubicBezTo>
                <a:cubicBezTo>
                  <a:pt x="8" y="200"/>
                  <a:pt x="13" y="200"/>
                  <a:pt x="14" y="200"/>
                </a:cubicBezTo>
                <a:cubicBezTo>
                  <a:pt x="16" y="200"/>
                  <a:pt x="18" y="200"/>
                  <a:pt x="18" y="200"/>
                </a:cubicBezTo>
                <a:cubicBezTo>
                  <a:pt x="18" y="200"/>
                  <a:pt x="17" y="199"/>
                  <a:pt x="19" y="199"/>
                </a:cubicBezTo>
                <a:cubicBezTo>
                  <a:pt x="18" y="198"/>
                  <a:pt x="18" y="198"/>
                  <a:pt x="18" y="198"/>
                </a:cubicBezTo>
                <a:cubicBezTo>
                  <a:pt x="18" y="198"/>
                  <a:pt x="19" y="196"/>
                  <a:pt x="19" y="196"/>
                </a:cubicBezTo>
                <a:cubicBezTo>
                  <a:pt x="19" y="195"/>
                  <a:pt x="19" y="193"/>
                  <a:pt x="18" y="193"/>
                </a:cubicBezTo>
                <a:close/>
                <a:moveTo>
                  <a:pt x="184" y="2"/>
                </a:moveTo>
                <a:cubicBezTo>
                  <a:pt x="185" y="2"/>
                  <a:pt x="187" y="0"/>
                  <a:pt x="186" y="0"/>
                </a:cubicBezTo>
                <a:cubicBezTo>
                  <a:pt x="185" y="0"/>
                  <a:pt x="177" y="0"/>
                  <a:pt x="177" y="0"/>
                </a:cubicBezTo>
                <a:cubicBezTo>
                  <a:pt x="177" y="2"/>
                  <a:pt x="177" y="2"/>
                  <a:pt x="177" y="2"/>
                </a:cubicBezTo>
                <a:cubicBezTo>
                  <a:pt x="181" y="1"/>
                  <a:pt x="181" y="1"/>
                  <a:pt x="181" y="1"/>
                </a:cubicBezTo>
                <a:cubicBezTo>
                  <a:pt x="181" y="1"/>
                  <a:pt x="182" y="2"/>
                  <a:pt x="184" y="2"/>
                </a:cubicBezTo>
                <a:close/>
                <a:moveTo>
                  <a:pt x="188" y="6"/>
                </a:moveTo>
                <a:cubicBezTo>
                  <a:pt x="188" y="6"/>
                  <a:pt x="190" y="6"/>
                  <a:pt x="190" y="6"/>
                </a:cubicBezTo>
                <a:cubicBezTo>
                  <a:pt x="190" y="6"/>
                  <a:pt x="194" y="7"/>
                  <a:pt x="195" y="6"/>
                </a:cubicBezTo>
                <a:cubicBezTo>
                  <a:pt x="196" y="5"/>
                  <a:pt x="195" y="3"/>
                  <a:pt x="192" y="3"/>
                </a:cubicBezTo>
                <a:cubicBezTo>
                  <a:pt x="188" y="3"/>
                  <a:pt x="185" y="6"/>
                  <a:pt x="185" y="6"/>
                </a:cubicBezTo>
                <a:cubicBezTo>
                  <a:pt x="185" y="6"/>
                  <a:pt x="187" y="6"/>
                  <a:pt x="188" y="6"/>
                </a:cubicBezTo>
                <a:close/>
                <a:moveTo>
                  <a:pt x="171" y="3"/>
                </a:moveTo>
                <a:cubicBezTo>
                  <a:pt x="167" y="3"/>
                  <a:pt x="167" y="3"/>
                  <a:pt x="167" y="3"/>
                </a:cubicBezTo>
                <a:cubicBezTo>
                  <a:pt x="168" y="4"/>
                  <a:pt x="168" y="4"/>
                  <a:pt x="168" y="4"/>
                </a:cubicBezTo>
                <a:lnTo>
                  <a:pt x="171" y="3"/>
                </a:lnTo>
                <a:close/>
                <a:moveTo>
                  <a:pt x="168" y="11"/>
                </a:moveTo>
                <a:cubicBezTo>
                  <a:pt x="176" y="11"/>
                  <a:pt x="176" y="11"/>
                  <a:pt x="176" y="11"/>
                </a:cubicBezTo>
                <a:cubicBezTo>
                  <a:pt x="173" y="9"/>
                  <a:pt x="173" y="9"/>
                  <a:pt x="173" y="9"/>
                </a:cubicBezTo>
                <a:lnTo>
                  <a:pt x="168" y="11"/>
                </a:lnTo>
                <a:close/>
                <a:moveTo>
                  <a:pt x="170" y="6"/>
                </a:moveTo>
                <a:cubicBezTo>
                  <a:pt x="172" y="8"/>
                  <a:pt x="172" y="9"/>
                  <a:pt x="172" y="9"/>
                </a:cubicBezTo>
                <a:cubicBezTo>
                  <a:pt x="175" y="7"/>
                  <a:pt x="175" y="7"/>
                  <a:pt x="175" y="7"/>
                </a:cubicBezTo>
                <a:cubicBezTo>
                  <a:pt x="175" y="7"/>
                  <a:pt x="174" y="8"/>
                  <a:pt x="176" y="8"/>
                </a:cubicBezTo>
                <a:cubicBezTo>
                  <a:pt x="178" y="8"/>
                  <a:pt x="182" y="6"/>
                  <a:pt x="182" y="6"/>
                </a:cubicBezTo>
                <a:cubicBezTo>
                  <a:pt x="176" y="5"/>
                  <a:pt x="176" y="5"/>
                  <a:pt x="176" y="5"/>
                </a:cubicBezTo>
                <a:cubicBezTo>
                  <a:pt x="174" y="6"/>
                  <a:pt x="174" y="6"/>
                  <a:pt x="174" y="6"/>
                </a:cubicBezTo>
                <a:cubicBezTo>
                  <a:pt x="174" y="6"/>
                  <a:pt x="172" y="5"/>
                  <a:pt x="171" y="6"/>
                </a:cubicBezTo>
                <a:cubicBezTo>
                  <a:pt x="170" y="6"/>
                  <a:pt x="170" y="6"/>
                  <a:pt x="170" y="6"/>
                </a:cubicBezTo>
                <a:close/>
                <a:moveTo>
                  <a:pt x="179" y="4"/>
                </a:moveTo>
                <a:cubicBezTo>
                  <a:pt x="173" y="4"/>
                  <a:pt x="173" y="4"/>
                  <a:pt x="173" y="4"/>
                </a:cubicBezTo>
                <a:cubicBezTo>
                  <a:pt x="178" y="5"/>
                  <a:pt x="178" y="5"/>
                  <a:pt x="178" y="5"/>
                </a:cubicBezTo>
                <a:lnTo>
                  <a:pt x="179" y="4"/>
                </a:lnTo>
                <a:close/>
                <a:moveTo>
                  <a:pt x="113" y="10"/>
                </a:moveTo>
                <a:cubicBezTo>
                  <a:pt x="115" y="8"/>
                  <a:pt x="115" y="8"/>
                  <a:pt x="115" y="8"/>
                </a:cubicBezTo>
                <a:cubicBezTo>
                  <a:pt x="115" y="8"/>
                  <a:pt x="109" y="7"/>
                  <a:pt x="113" y="10"/>
                </a:cubicBezTo>
                <a:close/>
                <a:moveTo>
                  <a:pt x="107" y="8"/>
                </a:moveTo>
                <a:cubicBezTo>
                  <a:pt x="116" y="6"/>
                  <a:pt x="116" y="6"/>
                  <a:pt x="116" y="6"/>
                </a:cubicBezTo>
                <a:cubicBezTo>
                  <a:pt x="113" y="5"/>
                  <a:pt x="113" y="5"/>
                  <a:pt x="113" y="5"/>
                </a:cubicBezTo>
                <a:cubicBezTo>
                  <a:pt x="108" y="6"/>
                  <a:pt x="108" y="6"/>
                  <a:pt x="108" y="6"/>
                </a:cubicBezTo>
                <a:cubicBezTo>
                  <a:pt x="102" y="6"/>
                  <a:pt x="102" y="6"/>
                  <a:pt x="102" y="6"/>
                </a:cubicBezTo>
                <a:cubicBezTo>
                  <a:pt x="105" y="7"/>
                  <a:pt x="105" y="7"/>
                  <a:pt x="105" y="7"/>
                </a:cubicBezTo>
                <a:lnTo>
                  <a:pt x="107" y="8"/>
                </a:lnTo>
                <a:close/>
                <a:moveTo>
                  <a:pt x="122" y="10"/>
                </a:moveTo>
                <a:cubicBezTo>
                  <a:pt x="122" y="8"/>
                  <a:pt x="122" y="8"/>
                  <a:pt x="122" y="8"/>
                </a:cubicBezTo>
                <a:cubicBezTo>
                  <a:pt x="125" y="8"/>
                  <a:pt x="125" y="8"/>
                  <a:pt x="125" y="8"/>
                </a:cubicBezTo>
                <a:cubicBezTo>
                  <a:pt x="126" y="7"/>
                  <a:pt x="126" y="7"/>
                  <a:pt x="126" y="7"/>
                </a:cubicBezTo>
                <a:cubicBezTo>
                  <a:pt x="126" y="7"/>
                  <a:pt x="130" y="8"/>
                  <a:pt x="132" y="7"/>
                </a:cubicBezTo>
                <a:cubicBezTo>
                  <a:pt x="133" y="6"/>
                  <a:pt x="128" y="6"/>
                  <a:pt x="128" y="6"/>
                </a:cubicBezTo>
                <a:cubicBezTo>
                  <a:pt x="128" y="6"/>
                  <a:pt x="128" y="4"/>
                  <a:pt x="125" y="4"/>
                </a:cubicBezTo>
                <a:cubicBezTo>
                  <a:pt x="122" y="4"/>
                  <a:pt x="122" y="7"/>
                  <a:pt x="122" y="7"/>
                </a:cubicBezTo>
                <a:cubicBezTo>
                  <a:pt x="122" y="7"/>
                  <a:pt x="116" y="8"/>
                  <a:pt x="116" y="9"/>
                </a:cubicBezTo>
                <a:cubicBezTo>
                  <a:pt x="117" y="10"/>
                  <a:pt x="122" y="10"/>
                  <a:pt x="122" y="10"/>
                </a:cubicBezTo>
                <a:close/>
                <a:moveTo>
                  <a:pt x="127" y="9"/>
                </a:moveTo>
                <a:cubicBezTo>
                  <a:pt x="125" y="10"/>
                  <a:pt x="125" y="10"/>
                  <a:pt x="125" y="10"/>
                </a:cubicBezTo>
                <a:cubicBezTo>
                  <a:pt x="127" y="11"/>
                  <a:pt x="127" y="11"/>
                  <a:pt x="127" y="11"/>
                </a:cubicBezTo>
                <a:cubicBezTo>
                  <a:pt x="129" y="12"/>
                  <a:pt x="129" y="12"/>
                  <a:pt x="129" y="12"/>
                </a:cubicBezTo>
                <a:cubicBezTo>
                  <a:pt x="134" y="11"/>
                  <a:pt x="134" y="11"/>
                  <a:pt x="134" y="11"/>
                </a:cubicBezTo>
                <a:cubicBezTo>
                  <a:pt x="134" y="10"/>
                  <a:pt x="134" y="10"/>
                  <a:pt x="134" y="10"/>
                </a:cubicBezTo>
                <a:cubicBezTo>
                  <a:pt x="131" y="10"/>
                  <a:pt x="131" y="10"/>
                  <a:pt x="131" y="10"/>
                </a:cubicBezTo>
                <a:lnTo>
                  <a:pt x="127" y="9"/>
                </a:lnTo>
                <a:close/>
                <a:moveTo>
                  <a:pt x="145" y="9"/>
                </a:moveTo>
                <a:cubicBezTo>
                  <a:pt x="146" y="8"/>
                  <a:pt x="146" y="8"/>
                  <a:pt x="146" y="8"/>
                </a:cubicBezTo>
                <a:cubicBezTo>
                  <a:pt x="141" y="7"/>
                  <a:pt x="141" y="7"/>
                  <a:pt x="141" y="7"/>
                </a:cubicBezTo>
                <a:cubicBezTo>
                  <a:pt x="139" y="9"/>
                  <a:pt x="139" y="9"/>
                  <a:pt x="139" y="9"/>
                </a:cubicBezTo>
                <a:cubicBezTo>
                  <a:pt x="139" y="10"/>
                  <a:pt x="139" y="10"/>
                  <a:pt x="139" y="10"/>
                </a:cubicBezTo>
                <a:lnTo>
                  <a:pt x="145" y="9"/>
                </a:lnTo>
                <a:close/>
                <a:moveTo>
                  <a:pt x="164" y="0"/>
                </a:moveTo>
                <a:cubicBezTo>
                  <a:pt x="159" y="0"/>
                  <a:pt x="159" y="0"/>
                  <a:pt x="159" y="0"/>
                </a:cubicBezTo>
                <a:cubicBezTo>
                  <a:pt x="159" y="2"/>
                  <a:pt x="159" y="2"/>
                  <a:pt x="159" y="2"/>
                </a:cubicBezTo>
                <a:cubicBezTo>
                  <a:pt x="162" y="2"/>
                  <a:pt x="162" y="2"/>
                  <a:pt x="162" y="2"/>
                </a:cubicBezTo>
                <a:cubicBezTo>
                  <a:pt x="165" y="2"/>
                  <a:pt x="164" y="0"/>
                  <a:pt x="164" y="0"/>
                </a:cubicBezTo>
                <a:close/>
                <a:moveTo>
                  <a:pt x="163" y="6"/>
                </a:moveTo>
                <a:cubicBezTo>
                  <a:pt x="165" y="6"/>
                  <a:pt x="167" y="4"/>
                  <a:pt x="164" y="4"/>
                </a:cubicBezTo>
                <a:cubicBezTo>
                  <a:pt x="161" y="4"/>
                  <a:pt x="162" y="6"/>
                  <a:pt x="163" y="6"/>
                </a:cubicBezTo>
                <a:close/>
                <a:moveTo>
                  <a:pt x="161" y="8"/>
                </a:moveTo>
                <a:cubicBezTo>
                  <a:pt x="162" y="10"/>
                  <a:pt x="161" y="10"/>
                  <a:pt x="165" y="9"/>
                </a:cubicBezTo>
                <a:cubicBezTo>
                  <a:pt x="169" y="8"/>
                  <a:pt x="164" y="7"/>
                  <a:pt x="164" y="7"/>
                </a:cubicBezTo>
                <a:cubicBezTo>
                  <a:pt x="163" y="7"/>
                  <a:pt x="161" y="8"/>
                  <a:pt x="161" y="8"/>
                </a:cubicBezTo>
                <a:close/>
                <a:moveTo>
                  <a:pt x="156" y="11"/>
                </a:moveTo>
                <a:cubicBezTo>
                  <a:pt x="157" y="11"/>
                  <a:pt x="163" y="10"/>
                  <a:pt x="162" y="10"/>
                </a:cubicBezTo>
                <a:cubicBezTo>
                  <a:pt x="161" y="10"/>
                  <a:pt x="159" y="9"/>
                  <a:pt x="159" y="9"/>
                </a:cubicBezTo>
                <a:cubicBezTo>
                  <a:pt x="154" y="9"/>
                  <a:pt x="154" y="9"/>
                  <a:pt x="154" y="9"/>
                </a:cubicBezTo>
                <a:cubicBezTo>
                  <a:pt x="154" y="9"/>
                  <a:pt x="154" y="11"/>
                  <a:pt x="156" y="11"/>
                </a:cubicBezTo>
                <a:close/>
                <a:moveTo>
                  <a:pt x="144" y="4"/>
                </a:moveTo>
                <a:cubicBezTo>
                  <a:pt x="141" y="4"/>
                  <a:pt x="143" y="6"/>
                  <a:pt x="143" y="6"/>
                </a:cubicBezTo>
                <a:cubicBezTo>
                  <a:pt x="147" y="5"/>
                  <a:pt x="147" y="3"/>
                  <a:pt x="144" y="4"/>
                </a:cubicBezTo>
                <a:close/>
                <a:moveTo>
                  <a:pt x="152" y="8"/>
                </a:moveTo>
                <a:cubicBezTo>
                  <a:pt x="149" y="7"/>
                  <a:pt x="149" y="7"/>
                  <a:pt x="149" y="7"/>
                </a:cubicBezTo>
                <a:cubicBezTo>
                  <a:pt x="150" y="10"/>
                  <a:pt x="150" y="10"/>
                  <a:pt x="150" y="10"/>
                </a:cubicBezTo>
                <a:lnTo>
                  <a:pt x="152" y="8"/>
                </a:lnTo>
                <a:close/>
                <a:moveTo>
                  <a:pt x="157" y="2"/>
                </a:moveTo>
                <a:cubicBezTo>
                  <a:pt x="157" y="4"/>
                  <a:pt x="157" y="4"/>
                  <a:pt x="157" y="4"/>
                </a:cubicBezTo>
                <a:cubicBezTo>
                  <a:pt x="161" y="3"/>
                  <a:pt x="161" y="3"/>
                  <a:pt x="161" y="3"/>
                </a:cubicBezTo>
                <a:lnTo>
                  <a:pt x="157" y="2"/>
                </a:lnTo>
                <a:close/>
                <a:moveTo>
                  <a:pt x="151" y="5"/>
                </a:moveTo>
                <a:cubicBezTo>
                  <a:pt x="151" y="5"/>
                  <a:pt x="150" y="4"/>
                  <a:pt x="149" y="4"/>
                </a:cubicBezTo>
                <a:cubicBezTo>
                  <a:pt x="148" y="4"/>
                  <a:pt x="148" y="6"/>
                  <a:pt x="148" y="6"/>
                </a:cubicBezTo>
                <a:lnTo>
                  <a:pt x="151" y="5"/>
                </a:lnTo>
                <a:close/>
                <a:moveTo>
                  <a:pt x="154" y="5"/>
                </a:moveTo>
                <a:cubicBezTo>
                  <a:pt x="151" y="6"/>
                  <a:pt x="151" y="6"/>
                  <a:pt x="151" y="6"/>
                </a:cubicBezTo>
                <a:cubicBezTo>
                  <a:pt x="154" y="6"/>
                  <a:pt x="154" y="6"/>
                  <a:pt x="154" y="6"/>
                </a:cubicBezTo>
                <a:lnTo>
                  <a:pt x="154" y="5"/>
                </a:lnTo>
                <a:close/>
                <a:moveTo>
                  <a:pt x="158" y="7"/>
                </a:moveTo>
                <a:cubicBezTo>
                  <a:pt x="161" y="8"/>
                  <a:pt x="163" y="5"/>
                  <a:pt x="160" y="5"/>
                </a:cubicBezTo>
                <a:cubicBezTo>
                  <a:pt x="157" y="4"/>
                  <a:pt x="155" y="6"/>
                  <a:pt x="158" y="7"/>
                </a:cubicBezTo>
                <a:close/>
                <a:moveTo>
                  <a:pt x="156" y="4"/>
                </a:moveTo>
                <a:cubicBezTo>
                  <a:pt x="156" y="1"/>
                  <a:pt x="156" y="1"/>
                  <a:pt x="156" y="1"/>
                </a:cubicBezTo>
                <a:cubicBezTo>
                  <a:pt x="151" y="2"/>
                  <a:pt x="151" y="2"/>
                  <a:pt x="151" y="2"/>
                </a:cubicBezTo>
                <a:cubicBezTo>
                  <a:pt x="152" y="4"/>
                  <a:pt x="152" y="4"/>
                  <a:pt x="152" y="4"/>
                </a:cubicBezTo>
                <a:lnTo>
                  <a:pt x="156" y="4"/>
                </a:ln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 name="Freeform 6"/>
          <p:cNvSpPr>
            <a:spLocks noEditPoints="1"/>
          </p:cNvSpPr>
          <p:nvPr/>
        </p:nvSpPr>
        <p:spPr bwMode="gray">
          <a:xfrm>
            <a:off x="7499350" y="4773613"/>
            <a:ext cx="112713" cy="57150"/>
          </a:xfrm>
          <a:custGeom>
            <a:avLst/>
            <a:gdLst>
              <a:gd name="T0" fmla="*/ 27 w 30"/>
              <a:gd name="T1" fmla="*/ 0 h 14"/>
              <a:gd name="T2" fmla="*/ 25 w 30"/>
              <a:gd name="T3" fmla="*/ 3 h 14"/>
              <a:gd name="T4" fmla="*/ 15 w 30"/>
              <a:gd name="T5" fmla="*/ 3 h 14"/>
              <a:gd name="T6" fmla="*/ 12 w 30"/>
              <a:gd name="T7" fmla="*/ 6 h 14"/>
              <a:gd name="T8" fmla="*/ 9 w 30"/>
              <a:gd name="T9" fmla="*/ 6 h 14"/>
              <a:gd name="T10" fmla="*/ 11 w 30"/>
              <a:gd name="T11" fmla="*/ 8 h 14"/>
              <a:gd name="T12" fmla="*/ 9 w 30"/>
              <a:gd name="T13" fmla="*/ 12 h 14"/>
              <a:gd name="T14" fmla="*/ 9 w 30"/>
              <a:gd name="T15" fmla="*/ 14 h 14"/>
              <a:gd name="T16" fmla="*/ 10 w 30"/>
              <a:gd name="T17" fmla="*/ 13 h 14"/>
              <a:gd name="T18" fmla="*/ 12 w 30"/>
              <a:gd name="T19" fmla="*/ 12 h 14"/>
              <a:gd name="T20" fmla="*/ 16 w 30"/>
              <a:gd name="T21" fmla="*/ 9 h 14"/>
              <a:gd name="T22" fmla="*/ 20 w 30"/>
              <a:gd name="T23" fmla="*/ 10 h 14"/>
              <a:gd name="T24" fmla="*/ 30 w 30"/>
              <a:gd name="T25" fmla="*/ 2 h 14"/>
              <a:gd name="T26" fmla="*/ 27 w 30"/>
              <a:gd name="T27" fmla="*/ 0 h 14"/>
              <a:gd name="T28" fmla="*/ 0 w 30"/>
              <a:gd name="T29" fmla="*/ 10 h 14"/>
              <a:gd name="T30" fmla="*/ 1 w 30"/>
              <a:gd name="T31" fmla="*/ 12 h 14"/>
              <a:gd name="T32" fmla="*/ 4 w 30"/>
              <a:gd name="T33" fmla="*/ 11 h 14"/>
              <a:gd name="T34" fmla="*/ 5 w 30"/>
              <a:gd name="T35" fmla="*/ 9 h 14"/>
              <a:gd name="T36" fmla="*/ 2 w 30"/>
              <a:gd name="T37" fmla="*/ 8 h 14"/>
              <a:gd name="T38" fmla="*/ 0 w 30"/>
              <a:gd name="T3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14">
                <a:moveTo>
                  <a:pt x="27" y="0"/>
                </a:moveTo>
                <a:cubicBezTo>
                  <a:pt x="25" y="3"/>
                  <a:pt x="25" y="3"/>
                  <a:pt x="25" y="3"/>
                </a:cubicBezTo>
                <a:cubicBezTo>
                  <a:pt x="25" y="3"/>
                  <a:pt x="17" y="3"/>
                  <a:pt x="15" y="3"/>
                </a:cubicBezTo>
                <a:cubicBezTo>
                  <a:pt x="13" y="3"/>
                  <a:pt x="12" y="6"/>
                  <a:pt x="12" y="6"/>
                </a:cubicBezTo>
                <a:cubicBezTo>
                  <a:pt x="12" y="6"/>
                  <a:pt x="11" y="6"/>
                  <a:pt x="9" y="6"/>
                </a:cubicBezTo>
                <a:cubicBezTo>
                  <a:pt x="11" y="8"/>
                  <a:pt x="11" y="8"/>
                  <a:pt x="11" y="8"/>
                </a:cubicBezTo>
                <a:cubicBezTo>
                  <a:pt x="11" y="8"/>
                  <a:pt x="10" y="10"/>
                  <a:pt x="9" y="12"/>
                </a:cubicBezTo>
                <a:cubicBezTo>
                  <a:pt x="8" y="13"/>
                  <a:pt x="9" y="13"/>
                  <a:pt x="9" y="14"/>
                </a:cubicBezTo>
                <a:cubicBezTo>
                  <a:pt x="10" y="13"/>
                  <a:pt x="10" y="13"/>
                  <a:pt x="10" y="13"/>
                </a:cubicBezTo>
                <a:cubicBezTo>
                  <a:pt x="12" y="12"/>
                  <a:pt x="12" y="12"/>
                  <a:pt x="12" y="12"/>
                </a:cubicBezTo>
                <a:cubicBezTo>
                  <a:pt x="16" y="9"/>
                  <a:pt x="16" y="9"/>
                  <a:pt x="16" y="9"/>
                </a:cubicBezTo>
                <a:cubicBezTo>
                  <a:pt x="16" y="9"/>
                  <a:pt x="17" y="11"/>
                  <a:pt x="20" y="10"/>
                </a:cubicBezTo>
                <a:cubicBezTo>
                  <a:pt x="22" y="10"/>
                  <a:pt x="30" y="2"/>
                  <a:pt x="30" y="2"/>
                </a:cubicBezTo>
                <a:lnTo>
                  <a:pt x="27" y="0"/>
                </a:lnTo>
                <a:close/>
                <a:moveTo>
                  <a:pt x="0" y="10"/>
                </a:moveTo>
                <a:cubicBezTo>
                  <a:pt x="1" y="12"/>
                  <a:pt x="1" y="12"/>
                  <a:pt x="1" y="12"/>
                </a:cubicBezTo>
                <a:cubicBezTo>
                  <a:pt x="2" y="10"/>
                  <a:pt x="4" y="11"/>
                  <a:pt x="4" y="11"/>
                </a:cubicBezTo>
                <a:cubicBezTo>
                  <a:pt x="4" y="11"/>
                  <a:pt x="4" y="10"/>
                  <a:pt x="5" y="9"/>
                </a:cubicBezTo>
                <a:cubicBezTo>
                  <a:pt x="2" y="8"/>
                  <a:pt x="2" y="8"/>
                  <a:pt x="2" y="8"/>
                </a:cubicBezTo>
                <a:lnTo>
                  <a:pt x="0" y="1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 name="Freeform 7"/>
          <p:cNvSpPr>
            <a:spLocks noChangeAspect="1" noEditPoints="1"/>
          </p:cNvSpPr>
          <p:nvPr/>
        </p:nvSpPr>
        <p:spPr bwMode="gray">
          <a:xfrm>
            <a:off x="7961313" y="4562475"/>
            <a:ext cx="411162" cy="296863"/>
          </a:xfrm>
          <a:custGeom>
            <a:avLst/>
            <a:gdLst>
              <a:gd name="T0" fmla="*/ 880 w 2171"/>
              <a:gd name="T1" fmla="*/ 58 h 1470"/>
              <a:gd name="T2" fmla="*/ 984 w 2171"/>
              <a:gd name="T3" fmla="*/ 20 h 1470"/>
              <a:gd name="T4" fmla="*/ 1550 w 2171"/>
              <a:gd name="T5" fmla="*/ 513 h 1470"/>
              <a:gd name="T6" fmla="*/ 1415 w 2171"/>
              <a:gd name="T7" fmla="*/ 626 h 1470"/>
              <a:gd name="T8" fmla="*/ 1202 w 2171"/>
              <a:gd name="T9" fmla="*/ 684 h 1470"/>
              <a:gd name="T10" fmla="*/ 1184 w 2171"/>
              <a:gd name="T11" fmla="*/ 770 h 1470"/>
              <a:gd name="T12" fmla="*/ 1410 w 2171"/>
              <a:gd name="T13" fmla="*/ 753 h 1470"/>
              <a:gd name="T14" fmla="*/ 1554 w 2171"/>
              <a:gd name="T15" fmla="*/ 684 h 1470"/>
              <a:gd name="T16" fmla="*/ 1594 w 2171"/>
              <a:gd name="T17" fmla="*/ 617 h 1470"/>
              <a:gd name="T18" fmla="*/ 1650 w 2171"/>
              <a:gd name="T19" fmla="*/ 420 h 1470"/>
              <a:gd name="T20" fmla="*/ 1676 w 2171"/>
              <a:gd name="T21" fmla="*/ 282 h 1470"/>
              <a:gd name="T22" fmla="*/ 1545 w 2171"/>
              <a:gd name="T23" fmla="*/ 173 h 1470"/>
              <a:gd name="T24" fmla="*/ 1468 w 2171"/>
              <a:gd name="T25" fmla="*/ 93 h 1470"/>
              <a:gd name="T26" fmla="*/ 1534 w 2171"/>
              <a:gd name="T27" fmla="*/ 206 h 1470"/>
              <a:gd name="T28" fmla="*/ 1712 w 2171"/>
              <a:gd name="T29" fmla="*/ 366 h 1470"/>
              <a:gd name="T30" fmla="*/ 1780 w 2171"/>
              <a:gd name="T31" fmla="*/ 393 h 1470"/>
              <a:gd name="T32" fmla="*/ 2164 w 2171"/>
              <a:gd name="T33" fmla="*/ 746 h 1470"/>
              <a:gd name="T34" fmla="*/ 1973 w 2171"/>
              <a:gd name="T35" fmla="*/ 555 h 1470"/>
              <a:gd name="T36" fmla="*/ 1991 w 2171"/>
              <a:gd name="T37" fmla="*/ 675 h 1470"/>
              <a:gd name="T38" fmla="*/ 2171 w 2171"/>
              <a:gd name="T39" fmla="*/ 899 h 1470"/>
              <a:gd name="T40" fmla="*/ 1344 w 2171"/>
              <a:gd name="T41" fmla="*/ 1357 h 1470"/>
              <a:gd name="T42" fmla="*/ 1299 w 2171"/>
              <a:gd name="T43" fmla="*/ 1277 h 1470"/>
              <a:gd name="T44" fmla="*/ 1213 w 2171"/>
              <a:gd name="T45" fmla="*/ 1161 h 1470"/>
              <a:gd name="T46" fmla="*/ 1111 w 2171"/>
              <a:gd name="T47" fmla="*/ 1123 h 1470"/>
              <a:gd name="T48" fmla="*/ 1062 w 2171"/>
              <a:gd name="T49" fmla="*/ 1010 h 1470"/>
              <a:gd name="T50" fmla="*/ 905 w 2171"/>
              <a:gd name="T51" fmla="*/ 821 h 1470"/>
              <a:gd name="T52" fmla="*/ 916 w 2171"/>
              <a:gd name="T53" fmla="*/ 659 h 1470"/>
              <a:gd name="T54" fmla="*/ 760 w 2171"/>
              <a:gd name="T55" fmla="*/ 506 h 1470"/>
              <a:gd name="T56" fmla="*/ 594 w 2171"/>
              <a:gd name="T57" fmla="*/ 337 h 1470"/>
              <a:gd name="T58" fmla="*/ 448 w 2171"/>
              <a:gd name="T59" fmla="*/ 273 h 1470"/>
              <a:gd name="T60" fmla="*/ 146 w 2171"/>
              <a:gd name="T61" fmla="*/ 146 h 1470"/>
              <a:gd name="T62" fmla="*/ 95 w 2171"/>
              <a:gd name="T63" fmla="*/ 164 h 1470"/>
              <a:gd name="T64" fmla="*/ 71 w 2171"/>
              <a:gd name="T65" fmla="*/ 635 h 1470"/>
              <a:gd name="T66" fmla="*/ 33 w 2171"/>
              <a:gd name="T67" fmla="*/ 830 h 1470"/>
              <a:gd name="T68" fmla="*/ 62 w 2171"/>
              <a:gd name="T69" fmla="*/ 979 h 1470"/>
              <a:gd name="T70" fmla="*/ 55 w 2171"/>
              <a:gd name="T71" fmla="*/ 1106 h 1470"/>
              <a:gd name="T72" fmla="*/ 222 w 2171"/>
              <a:gd name="T73" fmla="*/ 1186 h 1470"/>
              <a:gd name="T74" fmla="*/ 375 w 2171"/>
              <a:gd name="T75" fmla="*/ 1161 h 1470"/>
              <a:gd name="T76" fmla="*/ 410 w 2171"/>
              <a:gd name="T77" fmla="*/ 1057 h 1470"/>
              <a:gd name="T78" fmla="*/ 448 w 2171"/>
              <a:gd name="T79" fmla="*/ 1012 h 1470"/>
              <a:gd name="T80" fmla="*/ 483 w 2171"/>
              <a:gd name="T81" fmla="*/ 970 h 1470"/>
              <a:gd name="T82" fmla="*/ 621 w 2171"/>
              <a:gd name="T83" fmla="*/ 997 h 1470"/>
              <a:gd name="T84" fmla="*/ 823 w 2171"/>
              <a:gd name="T85" fmla="*/ 1161 h 1470"/>
              <a:gd name="T86" fmla="*/ 980 w 2171"/>
              <a:gd name="T87" fmla="*/ 1366 h 1470"/>
              <a:gd name="T88" fmla="*/ 1364 w 2171"/>
              <a:gd name="T89" fmla="*/ 1470 h 1470"/>
              <a:gd name="T90" fmla="*/ 1344 w 2171"/>
              <a:gd name="T91" fmla="*/ 1357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1" h="1470">
                <a:moveTo>
                  <a:pt x="984" y="20"/>
                </a:moveTo>
                <a:cubicBezTo>
                  <a:pt x="945" y="0"/>
                  <a:pt x="880" y="58"/>
                  <a:pt x="880" y="58"/>
                </a:cubicBezTo>
                <a:cubicBezTo>
                  <a:pt x="936" y="93"/>
                  <a:pt x="936" y="93"/>
                  <a:pt x="936" y="93"/>
                </a:cubicBezTo>
                <a:cubicBezTo>
                  <a:pt x="989" y="104"/>
                  <a:pt x="1022" y="42"/>
                  <a:pt x="984" y="20"/>
                </a:cubicBezTo>
                <a:close/>
                <a:moveTo>
                  <a:pt x="1510" y="448"/>
                </a:moveTo>
                <a:cubicBezTo>
                  <a:pt x="1483" y="477"/>
                  <a:pt x="1550" y="513"/>
                  <a:pt x="1550" y="513"/>
                </a:cubicBezTo>
                <a:cubicBezTo>
                  <a:pt x="1554" y="551"/>
                  <a:pt x="1554" y="551"/>
                  <a:pt x="1554" y="551"/>
                </a:cubicBezTo>
                <a:cubicBezTo>
                  <a:pt x="1415" y="626"/>
                  <a:pt x="1415" y="626"/>
                  <a:pt x="1415" y="626"/>
                </a:cubicBezTo>
                <a:cubicBezTo>
                  <a:pt x="1415" y="626"/>
                  <a:pt x="1344" y="619"/>
                  <a:pt x="1297" y="628"/>
                </a:cubicBezTo>
                <a:cubicBezTo>
                  <a:pt x="1248" y="637"/>
                  <a:pt x="1231" y="666"/>
                  <a:pt x="1202" y="684"/>
                </a:cubicBezTo>
                <a:cubicBezTo>
                  <a:pt x="1171" y="702"/>
                  <a:pt x="1153" y="666"/>
                  <a:pt x="1135" y="702"/>
                </a:cubicBezTo>
                <a:cubicBezTo>
                  <a:pt x="1184" y="770"/>
                  <a:pt x="1184" y="770"/>
                  <a:pt x="1184" y="770"/>
                </a:cubicBezTo>
                <a:cubicBezTo>
                  <a:pt x="1377" y="779"/>
                  <a:pt x="1377" y="779"/>
                  <a:pt x="1377" y="779"/>
                </a:cubicBezTo>
                <a:cubicBezTo>
                  <a:pt x="1410" y="753"/>
                  <a:pt x="1410" y="753"/>
                  <a:pt x="1410" y="753"/>
                </a:cubicBezTo>
                <a:cubicBezTo>
                  <a:pt x="1410" y="753"/>
                  <a:pt x="1446" y="753"/>
                  <a:pt x="1483" y="748"/>
                </a:cubicBezTo>
                <a:cubicBezTo>
                  <a:pt x="1525" y="744"/>
                  <a:pt x="1554" y="684"/>
                  <a:pt x="1554" y="684"/>
                </a:cubicBezTo>
                <a:cubicBezTo>
                  <a:pt x="1612" y="668"/>
                  <a:pt x="1612" y="668"/>
                  <a:pt x="1612" y="668"/>
                </a:cubicBezTo>
                <a:cubicBezTo>
                  <a:pt x="1594" y="617"/>
                  <a:pt x="1594" y="617"/>
                  <a:pt x="1594" y="617"/>
                </a:cubicBezTo>
                <a:cubicBezTo>
                  <a:pt x="1647" y="626"/>
                  <a:pt x="1647" y="626"/>
                  <a:pt x="1647" y="626"/>
                </a:cubicBezTo>
                <a:cubicBezTo>
                  <a:pt x="1647" y="626"/>
                  <a:pt x="1672" y="471"/>
                  <a:pt x="1650" y="420"/>
                </a:cubicBezTo>
                <a:cubicBezTo>
                  <a:pt x="1630" y="366"/>
                  <a:pt x="1537" y="422"/>
                  <a:pt x="1510" y="448"/>
                </a:cubicBezTo>
                <a:close/>
                <a:moveTo>
                  <a:pt x="1676" y="282"/>
                </a:moveTo>
                <a:cubicBezTo>
                  <a:pt x="1650" y="282"/>
                  <a:pt x="1650" y="282"/>
                  <a:pt x="1650" y="282"/>
                </a:cubicBezTo>
                <a:cubicBezTo>
                  <a:pt x="1650" y="282"/>
                  <a:pt x="1559" y="180"/>
                  <a:pt x="1545" y="173"/>
                </a:cubicBezTo>
                <a:cubicBezTo>
                  <a:pt x="1534" y="164"/>
                  <a:pt x="1510" y="164"/>
                  <a:pt x="1510" y="164"/>
                </a:cubicBezTo>
                <a:cubicBezTo>
                  <a:pt x="1468" y="93"/>
                  <a:pt x="1468" y="93"/>
                  <a:pt x="1468" y="93"/>
                </a:cubicBezTo>
                <a:cubicBezTo>
                  <a:pt x="1446" y="189"/>
                  <a:pt x="1446" y="189"/>
                  <a:pt x="1446" y="189"/>
                </a:cubicBezTo>
                <a:cubicBezTo>
                  <a:pt x="1534" y="206"/>
                  <a:pt x="1534" y="206"/>
                  <a:pt x="1534" y="206"/>
                </a:cubicBezTo>
                <a:cubicBezTo>
                  <a:pt x="1534" y="206"/>
                  <a:pt x="1603" y="289"/>
                  <a:pt x="1621" y="306"/>
                </a:cubicBezTo>
                <a:cubicBezTo>
                  <a:pt x="1639" y="320"/>
                  <a:pt x="1698" y="326"/>
                  <a:pt x="1712" y="366"/>
                </a:cubicBezTo>
                <a:cubicBezTo>
                  <a:pt x="1725" y="404"/>
                  <a:pt x="1672" y="535"/>
                  <a:pt x="1752" y="542"/>
                </a:cubicBezTo>
                <a:cubicBezTo>
                  <a:pt x="1796" y="546"/>
                  <a:pt x="1820" y="448"/>
                  <a:pt x="1780" y="393"/>
                </a:cubicBezTo>
                <a:cubicBezTo>
                  <a:pt x="1743" y="335"/>
                  <a:pt x="1676" y="282"/>
                  <a:pt x="1676" y="282"/>
                </a:cubicBezTo>
                <a:close/>
                <a:moveTo>
                  <a:pt x="2164" y="746"/>
                </a:moveTo>
                <a:cubicBezTo>
                  <a:pt x="2042" y="606"/>
                  <a:pt x="2042" y="606"/>
                  <a:pt x="2042" y="606"/>
                </a:cubicBezTo>
                <a:cubicBezTo>
                  <a:pt x="2042" y="606"/>
                  <a:pt x="2031" y="531"/>
                  <a:pt x="1973" y="555"/>
                </a:cubicBezTo>
                <a:cubicBezTo>
                  <a:pt x="1942" y="568"/>
                  <a:pt x="1960" y="617"/>
                  <a:pt x="1960" y="617"/>
                </a:cubicBezTo>
                <a:cubicBezTo>
                  <a:pt x="1991" y="675"/>
                  <a:pt x="1991" y="675"/>
                  <a:pt x="1991" y="675"/>
                </a:cubicBezTo>
                <a:cubicBezTo>
                  <a:pt x="2042" y="770"/>
                  <a:pt x="2042" y="770"/>
                  <a:pt x="2042" y="770"/>
                </a:cubicBezTo>
                <a:cubicBezTo>
                  <a:pt x="2171" y="899"/>
                  <a:pt x="2171" y="899"/>
                  <a:pt x="2171" y="899"/>
                </a:cubicBezTo>
                <a:lnTo>
                  <a:pt x="2164" y="746"/>
                </a:lnTo>
                <a:close/>
                <a:moveTo>
                  <a:pt x="1344" y="1357"/>
                </a:moveTo>
                <a:cubicBezTo>
                  <a:pt x="1264" y="1306"/>
                  <a:pt x="1264" y="1306"/>
                  <a:pt x="1264" y="1306"/>
                </a:cubicBezTo>
                <a:cubicBezTo>
                  <a:pt x="1299" y="1277"/>
                  <a:pt x="1299" y="1277"/>
                  <a:pt x="1299" y="1277"/>
                </a:cubicBezTo>
                <a:cubicBezTo>
                  <a:pt x="1299" y="1277"/>
                  <a:pt x="1228" y="1272"/>
                  <a:pt x="1206" y="1252"/>
                </a:cubicBezTo>
                <a:cubicBezTo>
                  <a:pt x="1188" y="1232"/>
                  <a:pt x="1213" y="1190"/>
                  <a:pt x="1213" y="1161"/>
                </a:cubicBezTo>
                <a:cubicBezTo>
                  <a:pt x="1213" y="1135"/>
                  <a:pt x="1115" y="1186"/>
                  <a:pt x="1115" y="1186"/>
                </a:cubicBezTo>
                <a:cubicBezTo>
                  <a:pt x="1111" y="1123"/>
                  <a:pt x="1111" y="1123"/>
                  <a:pt x="1111" y="1123"/>
                </a:cubicBezTo>
                <a:cubicBezTo>
                  <a:pt x="1062" y="1099"/>
                  <a:pt x="1062" y="1099"/>
                  <a:pt x="1062" y="1099"/>
                </a:cubicBezTo>
                <a:cubicBezTo>
                  <a:pt x="1062" y="1010"/>
                  <a:pt x="1062" y="1010"/>
                  <a:pt x="1062" y="1010"/>
                </a:cubicBezTo>
                <a:cubicBezTo>
                  <a:pt x="953" y="932"/>
                  <a:pt x="953" y="932"/>
                  <a:pt x="953" y="932"/>
                </a:cubicBezTo>
                <a:cubicBezTo>
                  <a:pt x="905" y="821"/>
                  <a:pt x="905" y="821"/>
                  <a:pt x="905" y="821"/>
                </a:cubicBezTo>
                <a:cubicBezTo>
                  <a:pt x="905" y="821"/>
                  <a:pt x="1018" y="781"/>
                  <a:pt x="1018" y="735"/>
                </a:cubicBezTo>
                <a:cubicBezTo>
                  <a:pt x="1018" y="686"/>
                  <a:pt x="916" y="659"/>
                  <a:pt x="916" y="659"/>
                </a:cubicBezTo>
                <a:cubicBezTo>
                  <a:pt x="909" y="646"/>
                  <a:pt x="760" y="606"/>
                  <a:pt x="760" y="606"/>
                </a:cubicBezTo>
                <a:cubicBezTo>
                  <a:pt x="760" y="606"/>
                  <a:pt x="749" y="566"/>
                  <a:pt x="760" y="506"/>
                </a:cubicBezTo>
                <a:cubicBezTo>
                  <a:pt x="774" y="448"/>
                  <a:pt x="690" y="440"/>
                  <a:pt x="690" y="440"/>
                </a:cubicBezTo>
                <a:cubicBezTo>
                  <a:pt x="594" y="337"/>
                  <a:pt x="594" y="337"/>
                  <a:pt x="594" y="337"/>
                </a:cubicBezTo>
                <a:cubicBezTo>
                  <a:pt x="521" y="342"/>
                  <a:pt x="521" y="342"/>
                  <a:pt x="521" y="342"/>
                </a:cubicBezTo>
                <a:cubicBezTo>
                  <a:pt x="448" y="273"/>
                  <a:pt x="448" y="273"/>
                  <a:pt x="448" y="273"/>
                </a:cubicBezTo>
                <a:cubicBezTo>
                  <a:pt x="390" y="260"/>
                  <a:pt x="390" y="260"/>
                  <a:pt x="390" y="260"/>
                </a:cubicBezTo>
                <a:cubicBezTo>
                  <a:pt x="146" y="146"/>
                  <a:pt x="146" y="146"/>
                  <a:pt x="146" y="146"/>
                </a:cubicBezTo>
                <a:cubicBezTo>
                  <a:pt x="98" y="164"/>
                  <a:pt x="98" y="164"/>
                  <a:pt x="98" y="164"/>
                </a:cubicBezTo>
                <a:cubicBezTo>
                  <a:pt x="95" y="164"/>
                  <a:pt x="95" y="164"/>
                  <a:pt x="95" y="164"/>
                </a:cubicBezTo>
                <a:cubicBezTo>
                  <a:pt x="95" y="224"/>
                  <a:pt x="89" y="417"/>
                  <a:pt x="89" y="464"/>
                </a:cubicBezTo>
                <a:cubicBezTo>
                  <a:pt x="89" y="524"/>
                  <a:pt x="64" y="591"/>
                  <a:pt x="71" y="635"/>
                </a:cubicBezTo>
                <a:cubicBezTo>
                  <a:pt x="78" y="679"/>
                  <a:pt x="80" y="757"/>
                  <a:pt x="80" y="757"/>
                </a:cubicBezTo>
                <a:cubicBezTo>
                  <a:pt x="80" y="757"/>
                  <a:pt x="0" y="813"/>
                  <a:pt x="33" y="830"/>
                </a:cubicBezTo>
                <a:cubicBezTo>
                  <a:pt x="64" y="850"/>
                  <a:pt x="78" y="844"/>
                  <a:pt x="78" y="844"/>
                </a:cubicBezTo>
                <a:cubicBezTo>
                  <a:pt x="78" y="844"/>
                  <a:pt x="69" y="955"/>
                  <a:pt x="62" y="979"/>
                </a:cubicBezTo>
                <a:cubicBezTo>
                  <a:pt x="55" y="1001"/>
                  <a:pt x="44" y="1057"/>
                  <a:pt x="44" y="1057"/>
                </a:cubicBezTo>
                <a:cubicBezTo>
                  <a:pt x="55" y="1106"/>
                  <a:pt x="55" y="1106"/>
                  <a:pt x="55" y="1106"/>
                </a:cubicBezTo>
                <a:cubicBezTo>
                  <a:pt x="51" y="1201"/>
                  <a:pt x="51" y="1201"/>
                  <a:pt x="51" y="1201"/>
                </a:cubicBezTo>
                <a:cubicBezTo>
                  <a:pt x="100" y="1212"/>
                  <a:pt x="222" y="1186"/>
                  <a:pt x="222" y="1186"/>
                </a:cubicBezTo>
                <a:cubicBezTo>
                  <a:pt x="262" y="1221"/>
                  <a:pt x="262" y="1221"/>
                  <a:pt x="262" y="1221"/>
                </a:cubicBezTo>
                <a:cubicBezTo>
                  <a:pt x="262" y="1221"/>
                  <a:pt x="339" y="1192"/>
                  <a:pt x="375" y="1161"/>
                </a:cubicBezTo>
                <a:cubicBezTo>
                  <a:pt x="410" y="1130"/>
                  <a:pt x="211" y="1039"/>
                  <a:pt x="211" y="1039"/>
                </a:cubicBezTo>
                <a:cubicBezTo>
                  <a:pt x="211" y="1039"/>
                  <a:pt x="375" y="1064"/>
                  <a:pt x="410" y="1057"/>
                </a:cubicBezTo>
                <a:cubicBezTo>
                  <a:pt x="446" y="1048"/>
                  <a:pt x="386" y="986"/>
                  <a:pt x="386" y="986"/>
                </a:cubicBezTo>
                <a:cubicBezTo>
                  <a:pt x="386" y="986"/>
                  <a:pt x="435" y="1021"/>
                  <a:pt x="448" y="1012"/>
                </a:cubicBezTo>
                <a:cubicBezTo>
                  <a:pt x="463" y="1006"/>
                  <a:pt x="435" y="937"/>
                  <a:pt x="435" y="937"/>
                </a:cubicBezTo>
                <a:cubicBezTo>
                  <a:pt x="435" y="937"/>
                  <a:pt x="463" y="964"/>
                  <a:pt x="483" y="970"/>
                </a:cubicBezTo>
                <a:cubicBezTo>
                  <a:pt x="501" y="972"/>
                  <a:pt x="532" y="935"/>
                  <a:pt x="550" y="932"/>
                </a:cubicBezTo>
                <a:cubicBezTo>
                  <a:pt x="570" y="926"/>
                  <a:pt x="601" y="986"/>
                  <a:pt x="621" y="997"/>
                </a:cubicBezTo>
                <a:cubicBezTo>
                  <a:pt x="639" y="1010"/>
                  <a:pt x="714" y="995"/>
                  <a:pt x="767" y="1024"/>
                </a:cubicBezTo>
                <a:cubicBezTo>
                  <a:pt x="823" y="1057"/>
                  <a:pt x="803" y="1126"/>
                  <a:pt x="823" y="1161"/>
                </a:cubicBezTo>
                <a:cubicBezTo>
                  <a:pt x="840" y="1199"/>
                  <a:pt x="880" y="1175"/>
                  <a:pt x="898" y="1192"/>
                </a:cubicBezTo>
                <a:cubicBezTo>
                  <a:pt x="913" y="1212"/>
                  <a:pt x="940" y="1337"/>
                  <a:pt x="980" y="1366"/>
                </a:cubicBezTo>
                <a:cubicBezTo>
                  <a:pt x="1027" y="1397"/>
                  <a:pt x="1215" y="1379"/>
                  <a:pt x="1242" y="1390"/>
                </a:cubicBezTo>
                <a:cubicBezTo>
                  <a:pt x="1270" y="1401"/>
                  <a:pt x="1328" y="1470"/>
                  <a:pt x="1364" y="1470"/>
                </a:cubicBezTo>
                <a:cubicBezTo>
                  <a:pt x="1401" y="1470"/>
                  <a:pt x="1337" y="1390"/>
                  <a:pt x="1337" y="1390"/>
                </a:cubicBezTo>
                <a:lnTo>
                  <a:pt x="1344" y="1357"/>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 name="Freeform 8"/>
          <p:cNvSpPr>
            <a:spLocks noChangeAspect="1"/>
          </p:cNvSpPr>
          <p:nvPr/>
        </p:nvSpPr>
        <p:spPr bwMode="gray">
          <a:xfrm>
            <a:off x="5297488" y="4908550"/>
            <a:ext cx="234950" cy="460375"/>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 name="Freeform 9"/>
          <p:cNvSpPr>
            <a:spLocks noChangeAspect="1"/>
          </p:cNvSpPr>
          <p:nvPr/>
        </p:nvSpPr>
        <p:spPr bwMode="gray">
          <a:xfrm>
            <a:off x="1914525" y="3727450"/>
            <a:ext cx="282575" cy="115888"/>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 name="Freeform 10"/>
          <p:cNvSpPr>
            <a:spLocks noChangeAspect="1"/>
          </p:cNvSpPr>
          <p:nvPr/>
        </p:nvSpPr>
        <p:spPr bwMode="gray">
          <a:xfrm>
            <a:off x="2070100" y="3886200"/>
            <a:ext cx="61913" cy="28575"/>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 name="Freeform 11"/>
          <p:cNvSpPr>
            <a:spLocks noChangeAspect="1" noEditPoints="1"/>
          </p:cNvSpPr>
          <p:nvPr/>
        </p:nvSpPr>
        <p:spPr bwMode="gray">
          <a:xfrm>
            <a:off x="2092325" y="3609975"/>
            <a:ext cx="95250" cy="93663"/>
          </a:xfrm>
          <a:custGeom>
            <a:avLst/>
            <a:gdLst>
              <a:gd name="T0" fmla="*/ 37 w 167"/>
              <a:gd name="T1" fmla="*/ 129 h 154"/>
              <a:gd name="T2" fmla="*/ 29 w 167"/>
              <a:gd name="T3" fmla="*/ 110 h 154"/>
              <a:gd name="T4" fmla="*/ 10 w 167"/>
              <a:gd name="T5" fmla="*/ 117 h 154"/>
              <a:gd name="T6" fmla="*/ 4 w 167"/>
              <a:gd name="T7" fmla="*/ 129 h 154"/>
              <a:gd name="T8" fmla="*/ 27 w 167"/>
              <a:gd name="T9" fmla="*/ 142 h 154"/>
              <a:gd name="T10" fmla="*/ 39 w 167"/>
              <a:gd name="T11" fmla="*/ 148 h 154"/>
              <a:gd name="T12" fmla="*/ 37 w 167"/>
              <a:gd name="T13" fmla="*/ 129 h 154"/>
              <a:gd name="T14" fmla="*/ 140 w 167"/>
              <a:gd name="T15" fmla="*/ 126 h 154"/>
              <a:gd name="T16" fmla="*/ 130 w 167"/>
              <a:gd name="T17" fmla="*/ 91 h 154"/>
              <a:gd name="T18" fmla="*/ 116 w 167"/>
              <a:gd name="T19" fmla="*/ 82 h 154"/>
              <a:gd name="T20" fmla="*/ 118 w 167"/>
              <a:gd name="T21" fmla="*/ 103 h 154"/>
              <a:gd name="T22" fmla="*/ 124 w 167"/>
              <a:gd name="T23" fmla="*/ 129 h 154"/>
              <a:gd name="T24" fmla="*/ 157 w 167"/>
              <a:gd name="T25" fmla="*/ 146 h 154"/>
              <a:gd name="T26" fmla="*/ 140 w 167"/>
              <a:gd name="T27" fmla="*/ 126 h 154"/>
              <a:gd name="T28" fmla="*/ 106 w 167"/>
              <a:gd name="T29" fmla="*/ 17 h 154"/>
              <a:gd name="T30" fmla="*/ 73 w 167"/>
              <a:gd name="T31" fmla="*/ 6 h 154"/>
              <a:gd name="T32" fmla="*/ 89 w 167"/>
              <a:gd name="T33" fmla="*/ 25 h 154"/>
              <a:gd name="T34" fmla="*/ 70 w 167"/>
              <a:gd name="T35" fmla="*/ 51 h 154"/>
              <a:gd name="T36" fmla="*/ 97 w 167"/>
              <a:gd name="T37" fmla="*/ 48 h 154"/>
              <a:gd name="T38" fmla="*/ 106 w 167"/>
              <a:gd name="T39" fmla="*/ 17 h 154"/>
              <a:gd name="T40" fmla="*/ 23 w 167"/>
              <a:gd name="T41" fmla="*/ 30 h 154"/>
              <a:gd name="T42" fmla="*/ 35 w 167"/>
              <a:gd name="T43" fmla="*/ 30 h 154"/>
              <a:gd name="T44" fmla="*/ 33 w 167"/>
              <a:gd name="T45" fmla="*/ 13 h 154"/>
              <a:gd name="T46" fmla="*/ 7 w 167"/>
              <a:gd name="T47" fmla="*/ 28 h 154"/>
              <a:gd name="T48" fmla="*/ 23 w 167"/>
              <a:gd name="T49" fmla="*/ 3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154">
                <a:moveTo>
                  <a:pt x="37" y="129"/>
                </a:moveTo>
                <a:cubicBezTo>
                  <a:pt x="39" y="121"/>
                  <a:pt x="35" y="114"/>
                  <a:pt x="29" y="110"/>
                </a:cubicBezTo>
                <a:cubicBezTo>
                  <a:pt x="23" y="106"/>
                  <a:pt x="10" y="117"/>
                  <a:pt x="10" y="117"/>
                </a:cubicBezTo>
                <a:cubicBezTo>
                  <a:pt x="4" y="129"/>
                  <a:pt x="4" y="129"/>
                  <a:pt x="4" y="129"/>
                </a:cubicBezTo>
                <a:cubicBezTo>
                  <a:pt x="10" y="138"/>
                  <a:pt x="27" y="142"/>
                  <a:pt x="27" y="142"/>
                </a:cubicBezTo>
                <a:cubicBezTo>
                  <a:pt x="27" y="142"/>
                  <a:pt x="29" y="150"/>
                  <a:pt x="39" y="148"/>
                </a:cubicBezTo>
                <a:cubicBezTo>
                  <a:pt x="49" y="146"/>
                  <a:pt x="35" y="136"/>
                  <a:pt x="37" y="129"/>
                </a:cubicBezTo>
                <a:close/>
                <a:moveTo>
                  <a:pt x="140" y="126"/>
                </a:moveTo>
                <a:cubicBezTo>
                  <a:pt x="132" y="114"/>
                  <a:pt x="130" y="91"/>
                  <a:pt x="130" y="91"/>
                </a:cubicBezTo>
                <a:cubicBezTo>
                  <a:pt x="130" y="91"/>
                  <a:pt x="126" y="74"/>
                  <a:pt x="116" y="82"/>
                </a:cubicBezTo>
                <a:cubicBezTo>
                  <a:pt x="105" y="89"/>
                  <a:pt x="118" y="103"/>
                  <a:pt x="118" y="103"/>
                </a:cubicBezTo>
                <a:cubicBezTo>
                  <a:pt x="124" y="129"/>
                  <a:pt x="124" y="129"/>
                  <a:pt x="124" y="129"/>
                </a:cubicBezTo>
                <a:cubicBezTo>
                  <a:pt x="138" y="143"/>
                  <a:pt x="146" y="154"/>
                  <a:pt x="157" y="146"/>
                </a:cubicBezTo>
                <a:cubicBezTo>
                  <a:pt x="167" y="139"/>
                  <a:pt x="149" y="137"/>
                  <a:pt x="140" y="126"/>
                </a:cubicBezTo>
                <a:close/>
                <a:moveTo>
                  <a:pt x="106" y="17"/>
                </a:moveTo>
                <a:cubicBezTo>
                  <a:pt x="91" y="8"/>
                  <a:pt x="75" y="0"/>
                  <a:pt x="73" y="6"/>
                </a:cubicBezTo>
                <a:cubicBezTo>
                  <a:pt x="71" y="12"/>
                  <a:pt x="95" y="12"/>
                  <a:pt x="89" y="25"/>
                </a:cubicBezTo>
                <a:cubicBezTo>
                  <a:pt x="83" y="38"/>
                  <a:pt x="62" y="49"/>
                  <a:pt x="70" y="51"/>
                </a:cubicBezTo>
                <a:cubicBezTo>
                  <a:pt x="79" y="53"/>
                  <a:pt x="97" y="48"/>
                  <a:pt x="97" y="48"/>
                </a:cubicBezTo>
                <a:cubicBezTo>
                  <a:pt x="106" y="31"/>
                  <a:pt x="120" y="27"/>
                  <a:pt x="106" y="17"/>
                </a:cubicBezTo>
                <a:close/>
                <a:moveTo>
                  <a:pt x="23" y="30"/>
                </a:moveTo>
                <a:cubicBezTo>
                  <a:pt x="35" y="30"/>
                  <a:pt x="35" y="30"/>
                  <a:pt x="35" y="30"/>
                </a:cubicBezTo>
                <a:cubicBezTo>
                  <a:pt x="56" y="25"/>
                  <a:pt x="67" y="6"/>
                  <a:pt x="33" y="13"/>
                </a:cubicBezTo>
                <a:cubicBezTo>
                  <a:pt x="0" y="21"/>
                  <a:pt x="7" y="28"/>
                  <a:pt x="7" y="28"/>
                </a:cubicBezTo>
                <a:lnTo>
                  <a:pt x="23" y="3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 name="Freeform 12"/>
          <p:cNvSpPr>
            <a:spLocks noChangeAspect="1"/>
          </p:cNvSpPr>
          <p:nvPr/>
        </p:nvSpPr>
        <p:spPr bwMode="gray">
          <a:xfrm>
            <a:off x="2495550" y="4137025"/>
            <a:ext cx="25400" cy="36513"/>
          </a:xfrm>
          <a:custGeom>
            <a:avLst/>
            <a:gdLst>
              <a:gd name="T0" fmla="*/ 0 w 44"/>
              <a:gd name="T1" fmla="*/ 50 h 57"/>
              <a:gd name="T2" fmla="*/ 32 w 44"/>
              <a:gd name="T3" fmla="*/ 48 h 57"/>
              <a:gd name="T4" fmla="*/ 39 w 44"/>
              <a:gd name="T5" fmla="*/ 19 h 57"/>
              <a:gd name="T6" fmla="*/ 44 w 44"/>
              <a:gd name="T7" fmla="*/ 8 h 57"/>
              <a:gd name="T8" fmla="*/ 39 w 44"/>
              <a:gd name="T9" fmla="*/ 0 h 57"/>
              <a:gd name="T10" fmla="*/ 33 w 44"/>
              <a:gd name="T11" fmla="*/ 10 h 57"/>
              <a:gd name="T12" fmla="*/ 21 w 44"/>
              <a:gd name="T13" fmla="*/ 16 h 57"/>
              <a:gd name="T14" fmla="*/ 19 w 44"/>
              <a:gd name="T15" fmla="*/ 36 h 57"/>
              <a:gd name="T16" fmla="*/ 1 w 44"/>
              <a:gd name="T17" fmla="*/ 44 h 57"/>
              <a:gd name="T18" fmla="*/ 0 w 44"/>
              <a:gd name="T19"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57">
                <a:moveTo>
                  <a:pt x="0" y="50"/>
                </a:moveTo>
                <a:cubicBezTo>
                  <a:pt x="0" y="50"/>
                  <a:pt x="27" y="57"/>
                  <a:pt x="32" y="48"/>
                </a:cubicBezTo>
                <a:cubicBezTo>
                  <a:pt x="38" y="38"/>
                  <a:pt x="39" y="19"/>
                  <a:pt x="39" y="19"/>
                </a:cubicBezTo>
                <a:cubicBezTo>
                  <a:pt x="44" y="8"/>
                  <a:pt x="44" y="8"/>
                  <a:pt x="44" y="8"/>
                </a:cubicBezTo>
                <a:cubicBezTo>
                  <a:pt x="39" y="0"/>
                  <a:pt x="39" y="0"/>
                  <a:pt x="39" y="0"/>
                </a:cubicBezTo>
                <a:cubicBezTo>
                  <a:pt x="33" y="10"/>
                  <a:pt x="33" y="10"/>
                  <a:pt x="33" y="10"/>
                </a:cubicBezTo>
                <a:cubicBezTo>
                  <a:pt x="33" y="10"/>
                  <a:pt x="23" y="6"/>
                  <a:pt x="21" y="16"/>
                </a:cubicBezTo>
                <a:cubicBezTo>
                  <a:pt x="19" y="27"/>
                  <a:pt x="19" y="36"/>
                  <a:pt x="19" y="36"/>
                </a:cubicBezTo>
                <a:cubicBezTo>
                  <a:pt x="1" y="44"/>
                  <a:pt x="1" y="44"/>
                  <a:pt x="1" y="44"/>
                </a:cubicBezTo>
                <a:lnTo>
                  <a:pt x="0" y="5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 name="Freeform 13"/>
          <p:cNvSpPr>
            <a:spLocks noChangeAspect="1"/>
          </p:cNvSpPr>
          <p:nvPr/>
        </p:nvSpPr>
        <p:spPr bwMode="gray">
          <a:xfrm>
            <a:off x="2516188" y="4054475"/>
            <a:ext cx="6350" cy="12700"/>
          </a:xfrm>
          <a:custGeom>
            <a:avLst/>
            <a:gdLst>
              <a:gd name="T0" fmla="*/ 0 w 11"/>
              <a:gd name="T1" fmla="*/ 15 h 18"/>
              <a:gd name="T2" fmla="*/ 7 w 11"/>
              <a:gd name="T3" fmla="*/ 18 h 18"/>
              <a:gd name="T4" fmla="*/ 11 w 11"/>
              <a:gd name="T5" fmla="*/ 11 h 18"/>
              <a:gd name="T6" fmla="*/ 6 w 11"/>
              <a:gd name="T7" fmla="*/ 0 h 18"/>
              <a:gd name="T8" fmla="*/ 0 w 11"/>
              <a:gd name="T9" fmla="*/ 15 h 18"/>
            </a:gdLst>
            <a:ahLst/>
            <a:cxnLst>
              <a:cxn ang="0">
                <a:pos x="T0" y="T1"/>
              </a:cxn>
              <a:cxn ang="0">
                <a:pos x="T2" y="T3"/>
              </a:cxn>
              <a:cxn ang="0">
                <a:pos x="T4" y="T5"/>
              </a:cxn>
              <a:cxn ang="0">
                <a:pos x="T6" y="T7"/>
              </a:cxn>
              <a:cxn ang="0">
                <a:pos x="T8" y="T9"/>
              </a:cxn>
            </a:cxnLst>
            <a:rect l="0" t="0" r="r" b="b"/>
            <a:pathLst>
              <a:path w="11" h="18">
                <a:moveTo>
                  <a:pt x="0" y="15"/>
                </a:moveTo>
                <a:cubicBezTo>
                  <a:pt x="7" y="18"/>
                  <a:pt x="7" y="18"/>
                  <a:pt x="7" y="18"/>
                </a:cubicBezTo>
                <a:cubicBezTo>
                  <a:pt x="11" y="11"/>
                  <a:pt x="11" y="11"/>
                  <a:pt x="11" y="11"/>
                </a:cubicBezTo>
                <a:cubicBezTo>
                  <a:pt x="6" y="0"/>
                  <a:pt x="6" y="0"/>
                  <a:pt x="6" y="0"/>
                </a:cubicBezTo>
                <a:lnTo>
                  <a:pt x="0" y="15"/>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 name="Freeform 14"/>
          <p:cNvSpPr>
            <a:spLocks noChangeAspect="1"/>
          </p:cNvSpPr>
          <p:nvPr/>
        </p:nvSpPr>
        <p:spPr bwMode="gray">
          <a:xfrm>
            <a:off x="2498725" y="4089400"/>
            <a:ext cx="11113" cy="15875"/>
          </a:xfrm>
          <a:custGeom>
            <a:avLst/>
            <a:gdLst>
              <a:gd name="T0" fmla="*/ 4 w 18"/>
              <a:gd name="T1" fmla="*/ 8 h 23"/>
              <a:gd name="T2" fmla="*/ 10 w 18"/>
              <a:gd name="T3" fmla="*/ 23 h 23"/>
              <a:gd name="T4" fmla="*/ 4 w 18"/>
              <a:gd name="T5" fmla="*/ 8 h 23"/>
            </a:gdLst>
            <a:ahLst/>
            <a:cxnLst>
              <a:cxn ang="0">
                <a:pos x="T0" y="T1"/>
              </a:cxn>
              <a:cxn ang="0">
                <a:pos x="T2" y="T3"/>
              </a:cxn>
              <a:cxn ang="0">
                <a:pos x="T4" y="T5"/>
              </a:cxn>
            </a:cxnLst>
            <a:rect l="0" t="0" r="r" b="b"/>
            <a:pathLst>
              <a:path w="18" h="23">
                <a:moveTo>
                  <a:pt x="4" y="8"/>
                </a:moveTo>
                <a:cubicBezTo>
                  <a:pt x="0" y="16"/>
                  <a:pt x="10" y="23"/>
                  <a:pt x="10" y="23"/>
                </a:cubicBezTo>
                <a:cubicBezTo>
                  <a:pt x="18" y="15"/>
                  <a:pt x="8" y="0"/>
                  <a:pt x="4" y="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8" name="Freeform 15"/>
          <p:cNvSpPr>
            <a:spLocks noChangeAspect="1"/>
          </p:cNvSpPr>
          <p:nvPr/>
        </p:nvSpPr>
        <p:spPr bwMode="gray">
          <a:xfrm>
            <a:off x="2374900" y="3887788"/>
            <a:ext cx="53975" cy="26987"/>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9" name="Freeform 16"/>
          <p:cNvSpPr>
            <a:spLocks noChangeAspect="1"/>
          </p:cNvSpPr>
          <p:nvPr/>
        </p:nvSpPr>
        <p:spPr bwMode="gray">
          <a:xfrm>
            <a:off x="2484438" y="3922713"/>
            <a:ext cx="12700" cy="12700"/>
          </a:xfrm>
          <a:custGeom>
            <a:avLst/>
            <a:gdLst>
              <a:gd name="T0" fmla="*/ 0 w 7"/>
              <a:gd name="T1" fmla="*/ 0 h 6"/>
              <a:gd name="T2" fmla="*/ 5 w 7"/>
              <a:gd name="T3" fmla="*/ 6 h 6"/>
              <a:gd name="T4" fmla="*/ 7 w 7"/>
              <a:gd name="T5" fmla="*/ 5 h 6"/>
              <a:gd name="T6" fmla="*/ 3 w 7"/>
              <a:gd name="T7" fmla="*/ 0 h 6"/>
              <a:gd name="T8" fmla="*/ 0 w 7"/>
              <a:gd name="T9" fmla="*/ 0 h 6"/>
              <a:gd name="T10" fmla="*/ 0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0" y="0"/>
                </a:moveTo>
                <a:lnTo>
                  <a:pt x="5" y="6"/>
                </a:lnTo>
                <a:lnTo>
                  <a:pt x="7" y="5"/>
                </a:lnTo>
                <a:lnTo>
                  <a:pt x="3" y="0"/>
                </a:lnTo>
                <a:lnTo>
                  <a:pt x="0" y="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0" name="Freeform 17"/>
          <p:cNvSpPr>
            <a:spLocks noChangeAspect="1"/>
          </p:cNvSpPr>
          <p:nvPr/>
        </p:nvSpPr>
        <p:spPr bwMode="gray">
          <a:xfrm>
            <a:off x="2774950" y="2797175"/>
            <a:ext cx="165100" cy="158750"/>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1" name="Freeform 18"/>
          <p:cNvSpPr>
            <a:spLocks noChangeAspect="1"/>
          </p:cNvSpPr>
          <p:nvPr/>
        </p:nvSpPr>
        <p:spPr bwMode="gray">
          <a:xfrm>
            <a:off x="1739900" y="4019550"/>
            <a:ext cx="68263" cy="47625"/>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2" name="Freeform 19"/>
          <p:cNvSpPr>
            <a:spLocks noChangeAspect="1"/>
          </p:cNvSpPr>
          <p:nvPr/>
        </p:nvSpPr>
        <p:spPr bwMode="gray">
          <a:xfrm>
            <a:off x="1773238" y="3886200"/>
            <a:ext cx="44450" cy="87313"/>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3" name="Freeform 20"/>
          <p:cNvSpPr>
            <a:spLocks noChangeAspect="1"/>
          </p:cNvSpPr>
          <p:nvPr/>
        </p:nvSpPr>
        <p:spPr bwMode="gray">
          <a:xfrm>
            <a:off x="1687513" y="3906838"/>
            <a:ext cx="114300" cy="139700"/>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4" name="Freeform 21"/>
          <p:cNvSpPr>
            <a:spLocks noChangeAspect="1"/>
          </p:cNvSpPr>
          <p:nvPr/>
        </p:nvSpPr>
        <p:spPr bwMode="gray">
          <a:xfrm>
            <a:off x="1155700" y="3416300"/>
            <a:ext cx="712788" cy="603250"/>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5" name="Freeform 22"/>
          <p:cNvSpPr>
            <a:spLocks noChangeAspect="1"/>
          </p:cNvSpPr>
          <p:nvPr/>
        </p:nvSpPr>
        <p:spPr bwMode="gray">
          <a:xfrm>
            <a:off x="1766888" y="3968750"/>
            <a:ext cx="169862" cy="101600"/>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6" name="Freeform 23"/>
          <p:cNvSpPr>
            <a:spLocks noChangeAspect="1"/>
          </p:cNvSpPr>
          <p:nvPr/>
        </p:nvSpPr>
        <p:spPr bwMode="gray">
          <a:xfrm>
            <a:off x="2589213" y="4302125"/>
            <a:ext cx="114300" cy="141288"/>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7" name="Freeform 24"/>
          <p:cNvSpPr>
            <a:spLocks noChangeAspect="1"/>
          </p:cNvSpPr>
          <p:nvPr/>
        </p:nvSpPr>
        <p:spPr bwMode="gray">
          <a:xfrm>
            <a:off x="2500313" y="4221163"/>
            <a:ext cx="128587" cy="241300"/>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8" name="Freeform 25"/>
          <p:cNvSpPr>
            <a:spLocks noChangeAspect="1" noEditPoints="1"/>
          </p:cNvSpPr>
          <p:nvPr/>
        </p:nvSpPr>
        <p:spPr bwMode="gray">
          <a:xfrm>
            <a:off x="2181225" y="4095750"/>
            <a:ext cx="366713" cy="385763"/>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9" name="Freeform 26"/>
          <p:cNvSpPr>
            <a:spLocks noChangeAspect="1"/>
          </p:cNvSpPr>
          <p:nvPr/>
        </p:nvSpPr>
        <p:spPr bwMode="gray">
          <a:xfrm>
            <a:off x="1920875" y="4178300"/>
            <a:ext cx="158750" cy="88900"/>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0" name="Freeform 27"/>
          <p:cNvSpPr>
            <a:spLocks noChangeAspect="1"/>
          </p:cNvSpPr>
          <p:nvPr/>
        </p:nvSpPr>
        <p:spPr bwMode="gray">
          <a:xfrm>
            <a:off x="2020888" y="4081463"/>
            <a:ext cx="330200" cy="557212"/>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1" name="Freeform 28"/>
          <p:cNvSpPr>
            <a:spLocks noChangeAspect="1"/>
          </p:cNvSpPr>
          <p:nvPr/>
        </p:nvSpPr>
        <p:spPr bwMode="gray">
          <a:xfrm>
            <a:off x="2505075" y="5141913"/>
            <a:ext cx="233363" cy="279400"/>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2" name="Freeform 29"/>
          <p:cNvSpPr>
            <a:spLocks noChangeAspect="1"/>
          </p:cNvSpPr>
          <p:nvPr/>
        </p:nvSpPr>
        <p:spPr bwMode="gray">
          <a:xfrm>
            <a:off x="2670175" y="5500688"/>
            <a:ext cx="139700" cy="160337"/>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3" name="Freeform 30"/>
          <p:cNvSpPr>
            <a:spLocks noChangeAspect="1" noEditPoints="1"/>
          </p:cNvSpPr>
          <p:nvPr/>
        </p:nvSpPr>
        <p:spPr bwMode="gray">
          <a:xfrm>
            <a:off x="2346325" y="5227638"/>
            <a:ext cx="419100" cy="1006475"/>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5"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4" name="Freeform 31"/>
          <p:cNvSpPr>
            <a:spLocks noChangeAspect="1" noEditPoints="1"/>
          </p:cNvSpPr>
          <p:nvPr/>
        </p:nvSpPr>
        <p:spPr bwMode="gray">
          <a:xfrm>
            <a:off x="1963738" y="4448175"/>
            <a:ext cx="161925" cy="219075"/>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5" name="Freeform 32"/>
          <p:cNvSpPr>
            <a:spLocks noChangeAspect="1"/>
          </p:cNvSpPr>
          <p:nvPr/>
        </p:nvSpPr>
        <p:spPr bwMode="gray">
          <a:xfrm>
            <a:off x="6311900" y="4176713"/>
            <a:ext cx="77788" cy="142875"/>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6" name="Freeform 33"/>
          <p:cNvSpPr>
            <a:spLocks noChangeAspect="1" noEditPoints="1"/>
          </p:cNvSpPr>
          <p:nvPr/>
        </p:nvSpPr>
        <p:spPr bwMode="gray">
          <a:xfrm>
            <a:off x="7321550" y="3879850"/>
            <a:ext cx="265113" cy="444500"/>
          </a:xfrm>
          <a:custGeom>
            <a:avLst/>
            <a:gdLst>
              <a:gd name="T0" fmla="*/ 346 w 463"/>
              <a:gd name="T1" fmla="*/ 393 h 719"/>
              <a:gd name="T2" fmla="*/ 408 w 463"/>
              <a:gd name="T3" fmla="*/ 418 h 719"/>
              <a:gd name="T4" fmla="*/ 321 w 463"/>
              <a:gd name="T5" fmla="*/ 337 h 719"/>
              <a:gd name="T6" fmla="*/ 325 w 463"/>
              <a:gd name="T7" fmla="*/ 499 h 719"/>
              <a:gd name="T8" fmla="*/ 301 w 463"/>
              <a:gd name="T9" fmla="*/ 414 h 719"/>
              <a:gd name="T10" fmla="*/ 372 w 463"/>
              <a:gd name="T11" fmla="*/ 434 h 719"/>
              <a:gd name="T12" fmla="*/ 336 w 463"/>
              <a:gd name="T13" fmla="*/ 442 h 719"/>
              <a:gd name="T14" fmla="*/ 391 w 463"/>
              <a:gd name="T15" fmla="*/ 477 h 719"/>
              <a:gd name="T16" fmla="*/ 107 w 463"/>
              <a:gd name="T17" fmla="*/ 388 h 719"/>
              <a:gd name="T18" fmla="*/ 105 w 463"/>
              <a:gd name="T19" fmla="*/ 457 h 719"/>
              <a:gd name="T20" fmla="*/ 57 w 463"/>
              <a:gd name="T21" fmla="*/ 499 h 719"/>
              <a:gd name="T22" fmla="*/ 11 w 463"/>
              <a:gd name="T23" fmla="*/ 576 h 719"/>
              <a:gd name="T24" fmla="*/ 62 w 463"/>
              <a:gd name="T25" fmla="*/ 534 h 719"/>
              <a:gd name="T26" fmla="*/ 115 w 463"/>
              <a:gd name="T27" fmla="*/ 434 h 719"/>
              <a:gd name="T28" fmla="*/ 441 w 463"/>
              <a:gd name="T29" fmla="*/ 524 h 719"/>
              <a:gd name="T30" fmla="*/ 376 w 463"/>
              <a:gd name="T31" fmla="*/ 532 h 719"/>
              <a:gd name="T32" fmla="*/ 358 w 463"/>
              <a:gd name="T33" fmla="*/ 567 h 719"/>
              <a:gd name="T34" fmla="*/ 283 w 463"/>
              <a:gd name="T35" fmla="*/ 604 h 719"/>
              <a:gd name="T36" fmla="*/ 264 w 463"/>
              <a:gd name="T37" fmla="*/ 640 h 719"/>
              <a:gd name="T38" fmla="*/ 321 w 463"/>
              <a:gd name="T39" fmla="*/ 621 h 719"/>
              <a:gd name="T40" fmla="*/ 367 w 463"/>
              <a:gd name="T41" fmla="*/ 704 h 719"/>
              <a:gd name="T42" fmla="*/ 415 w 463"/>
              <a:gd name="T43" fmla="*/ 717 h 719"/>
              <a:gd name="T44" fmla="*/ 415 w 463"/>
              <a:gd name="T45" fmla="*/ 658 h 719"/>
              <a:gd name="T46" fmla="*/ 463 w 463"/>
              <a:gd name="T47" fmla="*/ 634 h 719"/>
              <a:gd name="T48" fmla="*/ 230 w 463"/>
              <a:gd name="T49" fmla="*/ 258 h 719"/>
              <a:gd name="T50" fmla="*/ 282 w 463"/>
              <a:gd name="T51" fmla="*/ 264 h 719"/>
              <a:gd name="T52" fmla="*/ 224 w 463"/>
              <a:gd name="T53" fmla="*/ 236 h 719"/>
              <a:gd name="T54" fmla="*/ 185 w 463"/>
              <a:gd name="T55" fmla="*/ 159 h 719"/>
              <a:gd name="T56" fmla="*/ 198 w 463"/>
              <a:gd name="T57" fmla="*/ 50 h 719"/>
              <a:gd name="T58" fmla="*/ 172 w 463"/>
              <a:gd name="T59" fmla="*/ 0 h 719"/>
              <a:gd name="T60" fmla="*/ 117 w 463"/>
              <a:gd name="T61" fmla="*/ 13 h 719"/>
              <a:gd name="T62" fmla="*/ 101 w 463"/>
              <a:gd name="T63" fmla="*/ 69 h 719"/>
              <a:gd name="T64" fmla="*/ 103 w 463"/>
              <a:gd name="T65" fmla="*/ 127 h 719"/>
              <a:gd name="T66" fmla="*/ 85 w 463"/>
              <a:gd name="T67" fmla="*/ 138 h 719"/>
              <a:gd name="T68" fmla="*/ 171 w 463"/>
              <a:gd name="T69" fmla="*/ 274 h 719"/>
              <a:gd name="T70" fmla="*/ 230 w 463"/>
              <a:gd name="T71" fmla="*/ 258 h 719"/>
              <a:gd name="T72" fmla="*/ 167 w 463"/>
              <a:gd name="T73" fmla="*/ 313 h 719"/>
              <a:gd name="T74" fmla="*/ 191 w 463"/>
              <a:gd name="T75" fmla="*/ 315 h 719"/>
              <a:gd name="T76" fmla="*/ 245 w 463"/>
              <a:gd name="T77" fmla="*/ 454 h 719"/>
              <a:gd name="T78" fmla="*/ 280 w 463"/>
              <a:gd name="T79" fmla="*/ 472 h 719"/>
              <a:gd name="T80" fmla="*/ 302 w 463"/>
              <a:gd name="T81" fmla="*/ 513 h 719"/>
              <a:gd name="T82" fmla="*/ 275 w 463"/>
              <a:gd name="T83" fmla="*/ 437 h 719"/>
              <a:gd name="T84" fmla="*/ 227 w 463"/>
              <a:gd name="T85" fmla="*/ 38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3" h="719">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7" name="Freeform 34"/>
          <p:cNvSpPr>
            <a:spLocks noChangeAspect="1"/>
          </p:cNvSpPr>
          <p:nvPr/>
        </p:nvSpPr>
        <p:spPr bwMode="gray">
          <a:xfrm>
            <a:off x="7337425" y="3660775"/>
            <a:ext cx="49213" cy="109538"/>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8" name="Freeform 35"/>
          <p:cNvSpPr>
            <a:spLocks noChangeAspect="1"/>
          </p:cNvSpPr>
          <p:nvPr/>
        </p:nvSpPr>
        <p:spPr bwMode="gray">
          <a:xfrm>
            <a:off x="6865938" y="4275138"/>
            <a:ext cx="117475" cy="182562"/>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39" name="Freeform 36"/>
          <p:cNvSpPr>
            <a:spLocks noChangeAspect="1"/>
          </p:cNvSpPr>
          <p:nvPr/>
        </p:nvSpPr>
        <p:spPr bwMode="gray">
          <a:xfrm>
            <a:off x="6916738" y="4016375"/>
            <a:ext cx="144462" cy="139700"/>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0" name="Freeform 37"/>
          <p:cNvSpPr>
            <a:spLocks noChangeAspect="1"/>
          </p:cNvSpPr>
          <p:nvPr/>
        </p:nvSpPr>
        <p:spPr bwMode="gray">
          <a:xfrm>
            <a:off x="7373938" y="3222625"/>
            <a:ext cx="107950" cy="136525"/>
          </a:xfrm>
          <a:custGeom>
            <a:avLst/>
            <a:gdLst>
              <a:gd name="T0" fmla="*/ 185 w 191"/>
              <a:gd name="T1" fmla="*/ 165 h 225"/>
              <a:gd name="T2" fmla="*/ 166 w 191"/>
              <a:gd name="T3" fmla="*/ 132 h 225"/>
              <a:gd name="T4" fmla="*/ 162 w 191"/>
              <a:gd name="T5" fmla="*/ 101 h 225"/>
              <a:gd name="T6" fmla="*/ 111 w 191"/>
              <a:gd name="T7" fmla="*/ 50 h 225"/>
              <a:gd name="T8" fmla="*/ 98 w 191"/>
              <a:gd name="T9" fmla="*/ 45 h 225"/>
              <a:gd name="T10" fmla="*/ 82 w 191"/>
              <a:gd name="T11" fmla="*/ 21 h 225"/>
              <a:gd name="T12" fmla="*/ 64 w 191"/>
              <a:gd name="T13" fmla="*/ 0 h 225"/>
              <a:gd name="T14" fmla="*/ 54 w 191"/>
              <a:gd name="T15" fmla="*/ 10 h 225"/>
              <a:gd name="T16" fmla="*/ 16 w 191"/>
              <a:gd name="T17" fmla="*/ 16 h 225"/>
              <a:gd name="T18" fmla="*/ 13 w 191"/>
              <a:gd name="T19" fmla="*/ 29 h 225"/>
              <a:gd name="T20" fmla="*/ 0 w 191"/>
              <a:gd name="T21" fmla="*/ 39 h 225"/>
              <a:gd name="T22" fmla="*/ 8 w 191"/>
              <a:gd name="T23" fmla="*/ 56 h 225"/>
              <a:gd name="T24" fmla="*/ 30 w 191"/>
              <a:gd name="T25" fmla="*/ 64 h 225"/>
              <a:gd name="T26" fmla="*/ 41 w 191"/>
              <a:gd name="T27" fmla="*/ 89 h 225"/>
              <a:gd name="T28" fmla="*/ 6 w 191"/>
              <a:gd name="T29" fmla="*/ 82 h 225"/>
              <a:gd name="T30" fmla="*/ 27 w 191"/>
              <a:gd name="T31" fmla="*/ 102 h 225"/>
              <a:gd name="T32" fmla="*/ 37 w 191"/>
              <a:gd name="T33" fmla="*/ 130 h 225"/>
              <a:gd name="T34" fmla="*/ 60 w 191"/>
              <a:gd name="T35" fmla="*/ 134 h 225"/>
              <a:gd name="T36" fmla="*/ 60 w 191"/>
              <a:gd name="T37" fmla="*/ 153 h 225"/>
              <a:gd name="T38" fmla="*/ 54 w 191"/>
              <a:gd name="T39" fmla="*/ 180 h 225"/>
              <a:gd name="T40" fmla="*/ 74 w 191"/>
              <a:gd name="T41" fmla="*/ 199 h 225"/>
              <a:gd name="T42" fmla="*/ 80 w 191"/>
              <a:gd name="T43" fmla="*/ 222 h 225"/>
              <a:gd name="T44" fmla="*/ 100 w 191"/>
              <a:gd name="T45" fmla="*/ 203 h 225"/>
              <a:gd name="T46" fmla="*/ 133 w 191"/>
              <a:gd name="T47" fmla="*/ 188 h 225"/>
              <a:gd name="T48" fmla="*/ 150 w 191"/>
              <a:gd name="T49" fmla="*/ 193 h 225"/>
              <a:gd name="T50" fmla="*/ 155 w 191"/>
              <a:gd name="T51" fmla="*/ 181 h 225"/>
              <a:gd name="T52" fmla="*/ 185 w 191"/>
              <a:gd name="T53" fmla="*/ 16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1" h="225">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1" name="Freeform 38"/>
          <p:cNvSpPr>
            <a:spLocks noChangeAspect="1"/>
          </p:cNvSpPr>
          <p:nvPr/>
        </p:nvSpPr>
        <p:spPr bwMode="gray">
          <a:xfrm>
            <a:off x="6827838" y="3752850"/>
            <a:ext cx="228600" cy="293688"/>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2" name="Freeform 39"/>
          <p:cNvSpPr>
            <a:spLocks noChangeAspect="1"/>
          </p:cNvSpPr>
          <p:nvPr/>
        </p:nvSpPr>
        <p:spPr bwMode="gray">
          <a:xfrm>
            <a:off x="6764338" y="3822700"/>
            <a:ext cx="239712" cy="495300"/>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3" name="Freeform 40"/>
          <p:cNvSpPr>
            <a:spLocks noChangeAspect="1"/>
          </p:cNvSpPr>
          <p:nvPr/>
        </p:nvSpPr>
        <p:spPr bwMode="gray">
          <a:xfrm>
            <a:off x="6878638" y="3724275"/>
            <a:ext cx="231775" cy="492125"/>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4" name="Freeform 41"/>
          <p:cNvSpPr>
            <a:spLocks noChangeAspect="1"/>
          </p:cNvSpPr>
          <p:nvPr/>
        </p:nvSpPr>
        <p:spPr bwMode="gray">
          <a:xfrm>
            <a:off x="6257925" y="3481388"/>
            <a:ext cx="227013" cy="146050"/>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5" name="Freeform 42"/>
          <p:cNvSpPr>
            <a:spLocks noChangeAspect="1"/>
          </p:cNvSpPr>
          <p:nvPr/>
        </p:nvSpPr>
        <p:spPr bwMode="gray">
          <a:xfrm>
            <a:off x="6492875" y="3556000"/>
            <a:ext cx="100013" cy="57150"/>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6" name="Freeform 43"/>
          <p:cNvSpPr>
            <a:spLocks noChangeAspect="1"/>
          </p:cNvSpPr>
          <p:nvPr/>
        </p:nvSpPr>
        <p:spPr bwMode="gray">
          <a:xfrm>
            <a:off x="6486525" y="3621088"/>
            <a:ext cx="141288" cy="174625"/>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7" name="Freeform 44"/>
          <p:cNvSpPr>
            <a:spLocks noChangeAspect="1" noEditPoints="1"/>
          </p:cNvSpPr>
          <p:nvPr/>
        </p:nvSpPr>
        <p:spPr bwMode="gray">
          <a:xfrm>
            <a:off x="5976938" y="3302000"/>
            <a:ext cx="742950" cy="930275"/>
          </a:xfrm>
          <a:custGeom>
            <a:avLst/>
            <a:gdLst>
              <a:gd name="T0" fmla="*/ 1202 w 1304"/>
              <a:gd name="T1" fmla="*/ 1237 h 1502"/>
              <a:gd name="T2" fmla="*/ 1280 w 1304"/>
              <a:gd name="T3" fmla="*/ 413 h 1502"/>
              <a:gd name="T4" fmla="*/ 1238 w 1304"/>
              <a:gd name="T5" fmla="*/ 369 h 1502"/>
              <a:gd name="T6" fmla="*/ 1102 w 1304"/>
              <a:gd name="T7" fmla="*/ 394 h 1502"/>
              <a:gd name="T8" fmla="*/ 1043 w 1304"/>
              <a:gd name="T9" fmla="*/ 459 h 1502"/>
              <a:gd name="T10" fmla="*/ 1016 w 1304"/>
              <a:gd name="T11" fmla="*/ 501 h 1502"/>
              <a:gd name="T12" fmla="*/ 921 w 1304"/>
              <a:gd name="T13" fmla="*/ 467 h 1502"/>
              <a:gd name="T14" fmla="*/ 882 w 1304"/>
              <a:gd name="T15" fmla="*/ 482 h 1502"/>
              <a:gd name="T16" fmla="*/ 843 w 1304"/>
              <a:gd name="T17" fmla="*/ 510 h 1502"/>
              <a:gd name="T18" fmla="*/ 754 w 1304"/>
              <a:gd name="T19" fmla="*/ 504 h 1502"/>
              <a:gd name="T20" fmla="*/ 687 w 1304"/>
              <a:gd name="T21" fmla="*/ 471 h 1502"/>
              <a:gd name="T22" fmla="*/ 634 w 1304"/>
              <a:gd name="T23" fmla="*/ 450 h 1502"/>
              <a:gd name="T24" fmla="*/ 557 w 1304"/>
              <a:gd name="T25" fmla="*/ 413 h 1502"/>
              <a:gd name="T26" fmla="*/ 511 w 1304"/>
              <a:gd name="T27" fmla="*/ 364 h 1502"/>
              <a:gd name="T28" fmla="*/ 524 w 1304"/>
              <a:gd name="T29" fmla="*/ 310 h 1502"/>
              <a:gd name="T30" fmla="*/ 466 w 1304"/>
              <a:gd name="T31" fmla="*/ 272 h 1502"/>
              <a:gd name="T32" fmla="*/ 390 w 1304"/>
              <a:gd name="T33" fmla="*/ 200 h 1502"/>
              <a:gd name="T34" fmla="*/ 440 w 1304"/>
              <a:gd name="T35" fmla="*/ 186 h 1502"/>
              <a:gd name="T36" fmla="*/ 406 w 1304"/>
              <a:gd name="T37" fmla="*/ 123 h 1502"/>
              <a:gd name="T38" fmla="*/ 438 w 1304"/>
              <a:gd name="T39" fmla="*/ 28 h 1502"/>
              <a:gd name="T40" fmla="*/ 304 w 1304"/>
              <a:gd name="T41" fmla="*/ 51 h 1502"/>
              <a:gd name="T42" fmla="*/ 262 w 1304"/>
              <a:gd name="T43" fmla="*/ 70 h 1502"/>
              <a:gd name="T44" fmla="*/ 171 w 1304"/>
              <a:gd name="T45" fmla="*/ 99 h 1502"/>
              <a:gd name="T46" fmla="*/ 184 w 1304"/>
              <a:gd name="T47" fmla="*/ 157 h 1502"/>
              <a:gd name="T48" fmla="*/ 243 w 1304"/>
              <a:gd name="T49" fmla="*/ 195 h 1502"/>
              <a:gd name="T50" fmla="*/ 217 w 1304"/>
              <a:gd name="T51" fmla="*/ 281 h 1502"/>
              <a:gd name="T52" fmla="*/ 151 w 1304"/>
              <a:gd name="T53" fmla="*/ 391 h 1502"/>
              <a:gd name="T54" fmla="*/ 89 w 1304"/>
              <a:gd name="T55" fmla="*/ 447 h 1502"/>
              <a:gd name="T56" fmla="*/ 48 w 1304"/>
              <a:gd name="T57" fmla="*/ 508 h 1502"/>
              <a:gd name="T58" fmla="*/ 97 w 1304"/>
              <a:gd name="T59" fmla="*/ 558 h 1502"/>
              <a:gd name="T60" fmla="*/ 86 w 1304"/>
              <a:gd name="T61" fmla="*/ 626 h 1502"/>
              <a:gd name="T62" fmla="*/ 13 w 1304"/>
              <a:gd name="T63" fmla="*/ 647 h 1502"/>
              <a:gd name="T64" fmla="*/ 108 w 1304"/>
              <a:gd name="T65" fmla="*/ 678 h 1502"/>
              <a:gd name="T66" fmla="*/ 136 w 1304"/>
              <a:gd name="T67" fmla="*/ 818 h 1502"/>
              <a:gd name="T68" fmla="*/ 238 w 1304"/>
              <a:gd name="T69" fmla="*/ 808 h 1502"/>
              <a:gd name="T70" fmla="*/ 299 w 1304"/>
              <a:gd name="T71" fmla="*/ 1092 h 1502"/>
              <a:gd name="T72" fmla="*/ 413 w 1304"/>
              <a:gd name="T73" fmla="*/ 1386 h 1502"/>
              <a:gd name="T74" fmla="*/ 578 w 1304"/>
              <a:gd name="T75" fmla="*/ 1427 h 1502"/>
              <a:gd name="T76" fmla="*/ 605 w 1304"/>
              <a:gd name="T77" fmla="*/ 1261 h 1502"/>
              <a:gd name="T78" fmla="*/ 631 w 1304"/>
              <a:gd name="T79" fmla="*/ 1082 h 1502"/>
              <a:gd name="T80" fmla="*/ 715 w 1304"/>
              <a:gd name="T81" fmla="*/ 988 h 1502"/>
              <a:gd name="T82" fmla="*/ 826 w 1304"/>
              <a:gd name="T83" fmla="*/ 861 h 1502"/>
              <a:gd name="T84" fmla="*/ 909 w 1304"/>
              <a:gd name="T85" fmla="*/ 773 h 1502"/>
              <a:gd name="T86" fmla="*/ 957 w 1304"/>
              <a:gd name="T87" fmla="*/ 789 h 1502"/>
              <a:gd name="T88" fmla="*/ 939 w 1304"/>
              <a:gd name="T89" fmla="*/ 681 h 1502"/>
              <a:gd name="T90" fmla="*/ 917 w 1304"/>
              <a:gd name="T91" fmla="*/ 585 h 1502"/>
              <a:gd name="T92" fmla="*/ 906 w 1304"/>
              <a:gd name="T93" fmla="*/ 523 h 1502"/>
              <a:gd name="T94" fmla="*/ 936 w 1304"/>
              <a:gd name="T95" fmla="*/ 514 h 1502"/>
              <a:gd name="T96" fmla="*/ 976 w 1304"/>
              <a:gd name="T97" fmla="*/ 555 h 1502"/>
              <a:gd name="T98" fmla="*/ 1079 w 1304"/>
              <a:gd name="T99" fmla="*/ 579 h 1502"/>
              <a:gd name="T100" fmla="*/ 1053 w 1304"/>
              <a:gd name="T101" fmla="*/ 670 h 1502"/>
              <a:gd name="T102" fmla="*/ 1115 w 1304"/>
              <a:gd name="T103" fmla="*/ 698 h 1502"/>
              <a:gd name="T104" fmla="*/ 1156 w 1304"/>
              <a:gd name="T105" fmla="*/ 732 h 1502"/>
              <a:gd name="T106" fmla="*/ 1168 w 1304"/>
              <a:gd name="T107" fmla="*/ 648 h 1502"/>
              <a:gd name="T108" fmla="*/ 1213 w 1304"/>
              <a:gd name="T109" fmla="*/ 562 h 1502"/>
              <a:gd name="T110" fmla="*/ 1253 w 1304"/>
              <a:gd name="T111" fmla="*/ 476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4" h="1502">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8" name="Freeform 45"/>
          <p:cNvSpPr>
            <a:spLocks noChangeAspect="1"/>
          </p:cNvSpPr>
          <p:nvPr/>
        </p:nvSpPr>
        <p:spPr bwMode="gray">
          <a:xfrm>
            <a:off x="6613525" y="3552825"/>
            <a:ext cx="242888" cy="619125"/>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49" name="Freeform 46"/>
          <p:cNvSpPr>
            <a:spLocks noChangeAspect="1"/>
          </p:cNvSpPr>
          <p:nvPr/>
        </p:nvSpPr>
        <p:spPr bwMode="gray">
          <a:xfrm>
            <a:off x="7285038" y="3074988"/>
            <a:ext cx="127000" cy="173037"/>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0" name="Freeform 47"/>
          <p:cNvSpPr>
            <a:spLocks noChangeAspect="1" noEditPoints="1"/>
          </p:cNvSpPr>
          <p:nvPr/>
        </p:nvSpPr>
        <p:spPr bwMode="gray">
          <a:xfrm>
            <a:off x="6027738" y="2728913"/>
            <a:ext cx="1393825" cy="1163637"/>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rgbClr val="00B050"/>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1" name="Freeform 48"/>
          <p:cNvSpPr>
            <a:spLocks noChangeAspect="1"/>
          </p:cNvSpPr>
          <p:nvPr/>
        </p:nvSpPr>
        <p:spPr bwMode="gray">
          <a:xfrm>
            <a:off x="4535488" y="3292475"/>
            <a:ext cx="19050" cy="20638"/>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2" name="Freeform 49"/>
          <p:cNvSpPr>
            <a:spLocks noChangeAspect="1"/>
          </p:cNvSpPr>
          <p:nvPr/>
        </p:nvSpPr>
        <p:spPr bwMode="gray">
          <a:xfrm>
            <a:off x="4999038" y="3317875"/>
            <a:ext cx="57150" cy="36513"/>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3" name="Freeform 50"/>
          <p:cNvSpPr>
            <a:spLocks noChangeAspect="1"/>
          </p:cNvSpPr>
          <p:nvPr/>
        </p:nvSpPr>
        <p:spPr bwMode="gray">
          <a:xfrm>
            <a:off x="3730625" y="2336800"/>
            <a:ext cx="225425" cy="95250"/>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4" name="Freeform 51"/>
          <p:cNvSpPr>
            <a:spLocks noChangeAspect="1"/>
          </p:cNvSpPr>
          <p:nvPr/>
        </p:nvSpPr>
        <p:spPr bwMode="gray">
          <a:xfrm>
            <a:off x="5532438" y="3616325"/>
            <a:ext cx="127000" cy="134938"/>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5" name="Freeform 52"/>
          <p:cNvSpPr>
            <a:spLocks noChangeAspect="1"/>
          </p:cNvSpPr>
          <p:nvPr/>
        </p:nvSpPr>
        <p:spPr bwMode="gray">
          <a:xfrm>
            <a:off x="5554663" y="3668713"/>
            <a:ext cx="209550" cy="274637"/>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6" name="Freeform 53"/>
          <p:cNvSpPr>
            <a:spLocks noChangeAspect="1"/>
          </p:cNvSpPr>
          <p:nvPr/>
        </p:nvSpPr>
        <p:spPr bwMode="gray">
          <a:xfrm>
            <a:off x="5511800" y="3627438"/>
            <a:ext cx="26988" cy="60325"/>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5"/>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7" name="Freeform 54"/>
          <p:cNvSpPr>
            <a:spLocks noChangeAspect="1"/>
          </p:cNvSpPr>
          <p:nvPr/>
        </p:nvSpPr>
        <p:spPr bwMode="gray">
          <a:xfrm>
            <a:off x="5759450" y="3268663"/>
            <a:ext cx="400050" cy="436562"/>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8" name="Freeform 55"/>
          <p:cNvSpPr>
            <a:spLocks noChangeAspect="1"/>
          </p:cNvSpPr>
          <p:nvPr/>
        </p:nvSpPr>
        <p:spPr bwMode="gray">
          <a:xfrm>
            <a:off x="5175250" y="3260725"/>
            <a:ext cx="258763" cy="273050"/>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59" name="Freeform 56"/>
          <p:cNvSpPr>
            <a:spLocks noChangeAspect="1"/>
          </p:cNvSpPr>
          <p:nvPr/>
        </p:nvSpPr>
        <p:spPr bwMode="gray">
          <a:xfrm>
            <a:off x="5387975" y="3502025"/>
            <a:ext cx="50800" cy="50800"/>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0" name="Freeform 57"/>
          <p:cNvSpPr>
            <a:spLocks noChangeAspect="1"/>
          </p:cNvSpPr>
          <p:nvPr/>
        </p:nvSpPr>
        <p:spPr bwMode="gray">
          <a:xfrm>
            <a:off x="5284788" y="3178175"/>
            <a:ext cx="547687" cy="487363"/>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1" name="Freeform 58"/>
          <p:cNvSpPr>
            <a:spLocks noChangeAspect="1"/>
          </p:cNvSpPr>
          <p:nvPr/>
        </p:nvSpPr>
        <p:spPr bwMode="gray">
          <a:xfrm>
            <a:off x="5870575" y="3138488"/>
            <a:ext cx="214313" cy="146050"/>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2" name="Freeform 59"/>
          <p:cNvSpPr>
            <a:spLocks noChangeAspect="1"/>
          </p:cNvSpPr>
          <p:nvPr/>
        </p:nvSpPr>
        <p:spPr bwMode="gray">
          <a:xfrm>
            <a:off x="5916613" y="3067050"/>
            <a:ext cx="254000" cy="130175"/>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3" name="Freeform 60"/>
          <p:cNvSpPr>
            <a:spLocks noChangeAspect="1"/>
          </p:cNvSpPr>
          <p:nvPr/>
        </p:nvSpPr>
        <p:spPr bwMode="gray">
          <a:xfrm>
            <a:off x="5483225" y="3081338"/>
            <a:ext cx="384175" cy="250825"/>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4" name="Freeform 61"/>
          <p:cNvSpPr>
            <a:spLocks noChangeAspect="1"/>
          </p:cNvSpPr>
          <p:nvPr/>
        </p:nvSpPr>
        <p:spPr bwMode="gray">
          <a:xfrm>
            <a:off x="5724525" y="3222625"/>
            <a:ext cx="347663" cy="303213"/>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5" name="Freeform 62"/>
          <p:cNvSpPr>
            <a:spLocks noChangeAspect="1"/>
          </p:cNvSpPr>
          <p:nvPr/>
        </p:nvSpPr>
        <p:spPr bwMode="gray">
          <a:xfrm>
            <a:off x="5076825" y="3432175"/>
            <a:ext cx="569913" cy="525463"/>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6" name="Freeform 63"/>
          <p:cNvSpPr>
            <a:spLocks noChangeAspect="1"/>
          </p:cNvSpPr>
          <p:nvPr/>
        </p:nvSpPr>
        <p:spPr bwMode="gray">
          <a:xfrm>
            <a:off x="5073650" y="3351213"/>
            <a:ext cx="42863" cy="63500"/>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7" name="Freeform 64"/>
          <p:cNvSpPr>
            <a:spLocks noChangeAspect="1"/>
          </p:cNvSpPr>
          <p:nvPr/>
        </p:nvSpPr>
        <p:spPr bwMode="gray">
          <a:xfrm>
            <a:off x="5084763" y="3259138"/>
            <a:ext cx="168275" cy="169862"/>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8" name="Freeform 65"/>
          <p:cNvSpPr>
            <a:spLocks noChangeAspect="1"/>
          </p:cNvSpPr>
          <p:nvPr/>
        </p:nvSpPr>
        <p:spPr bwMode="gray">
          <a:xfrm>
            <a:off x="5262563" y="3128963"/>
            <a:ext cx="88900" cy="85725"/>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69" name="Freeform 66"/>
          <p:cNvSpPr>
            <a:spLocks noChangeAspect="1" noEditPoints="1"/>
          </p:cNvSpPr>
          <p:nvPr/>
        </p:nvSpPr>
        <p:spPr bwMode="gray">
          <a:xfrm>
            <a:off x="4808538" y="3100388"/>
            <a:ext cx="508000" cy="211137"/>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0" name="Freeform 67"/>
          <p:cNvSpPr>
            <a:spLocks noChangeAspect="1" noEditPoints="1"/>
          </p:cNvSpPr>
          <p:nvPr/>
        </p:nvSpPr>
        <p:spPr bwMode="gray">
          <a:xfrm>
            <a:off x="4687888" y="3114675"/>
            <a:ext cx="207962" cy="227013"/>
          </a:xfrm>
          <a:custGeom>
            <a:avLst/>
            <a:gdLst>
              <a:gd name="T0" fmla="*/ 190 w 365"/>
              <a:gd name="T1" fmla="*/ 78 h 367"/>
              <a:gd name="T2" fmla="*/ 5 w 365"/>
              <a:gd name="T3" fmla="*/ 188 h 367"/>
              <a:gd name="T4" fmla="*/ 201 w 365"/>
              <a:gd name="T5" fmla="*/ 196 h 367"/>
              <a:gd name="T6" fmla="*/ 201 w 365"/>
              <a:gd name="T7" fmla="*/ 196 h 367"/>
              <a:gd name="T8" fmla="*/ 141 w 365"/>
              <a:gd name="T9" fmla="*/ 193 h 367"/>
              <a:gd name="T10" fmla="*/ 139 w 365"/>
              <a:gd name="T11" fmla="*/ 167 h 367"/>
              <a:gd name="T12" fmla="*/ 169 w 365"/>
              <a:gd name="T13" fmla="*/ 178 h 367"/>
              <a:gd name="T14" fmla="*/ 137 w 365"/>
              <a:gd name="T15" fmla="*/ 141 h 367"/>
              <a:gd name="T16" fmla="*/ 104 w 365"/>
              <a:gd name="T17" fmla="*/ 64 h 367"/>
              <a:gd name="T18" fmla="*/ 139 w 365"/>
              <a:gd name="T19" fmla="*/ 96 h 367"/>
              <a:gd name="T20" fmla="*/ 143 w 365"/>
              <a:gd name="T21" fmla="*/ 79 h 367"/>
              <a:gd name="T22" fmla="*/ 153 w 365"/>
              <a:gd name="T23" fmla="*/ 77 h 367"/>
              <a:gd name="T24" fmla="*/ 193 w 365"/>
              <a:gd name="T25" fmla="*/ 62 h 367"/>
              <a:gd name="T26" fmla="*/ 263 w 365"/>
              <a:gd name="T27" fmla="*/ 40 h 367"/>
              <a:gd name="T28" fmla="*/ 273 w 365"/>
              <a:gd name="T29" fmla="*/ 9 h 367"/>
              <a:gd name="T30" fmla="*/ 249 w 365"/>
              <a:gd name="T31" fmla="*/ 6 h 367"/>
              <a:gd name="T32" fmla="*/ 227 w 365"/>
              <a:gd name="T33" fmla="*/ 17 h 367"/>
              <a:gd name="T34" fmla="*/ 191 w 365"/>
              <a:gd name="T35" fmla="*/ 20 h 367"/>
              <a:gd name="T36" fmla="*/ 155 w 365"/>
              <a:gd name="T37" fmla="*/ 21 h 367"/>
              <a:gd name="T38" fmla="*/ 111 w 365"/>
              <a:gd name="T39" fmla="*/ 18 h 367"/>
              <a:gd name="T40" fmla="*/ 67 w 365"/>
              <a:gd name="T41" fmla="*/ 47 h 367"/>
              <a:gd name="T42" fmla="*/ 36 w 365"/>
              <a:gd name="T43" fmla="*/ 64 h 367"/>
              <a:gd name="T44" fmla="*/ 13 w 365"/>
              <a:gd name="T45" fmla="*/ 89 h 367"/>
              <a:gd name="T46" fmla="*/ 5 w 365"/>
              <a:gd name="T47" fmla="*/ 116 h 367"/>
              <a:gd name="T48" fmla="*/ 47 w 365"/>
              <a:gd name="T49" fmla="*/ 179 h 367"/>
              <a:gd name="T50" fmla="*/ 253 w 365"/>
              <a:gd name="T51" fmla="*/ 168 h 367"/>
              <a:gd name="T52" fmla="*/ 266 w 365"/>
              <a:gd name="T53" fmla="*/ 168 h 367"/>
              <a:gd name="T54" fmla="*/ 19 w 365"/>
              <a:gd name="T55" fmla="*/ 207 h 367"/>
              <a:gd name="T56" fmla="*/ 275 w 365"/>
              <a:gd name="T57" fmla="*/ 220 h 367"/>
              <a:gd name="T58" fmla="*/ 264 w 365"/>
              <a:gd name="T59" fmla="*/ 141 h 367"/>
              <a:gd name="T60" fmla="*/ 230 w 365"/>
              <a:gd name="T61" fmla="*/ 247 h 367"/>
              <a:gd name="T62" fmla="*/ 299 w 365"/>
              <a:gd name="T63" fmla="*/ 210 h 367"/>
              <a:gd name="T64" fmla="*/ 361 w 365"/>
              <a:gd name="T65" fmla="*/ 281 h 367"/>
              <a:gd name="T66" fmla="*/ 310 w 365"/>
              <a:gd name="T67" fmla="*/ 258 h 367"/>
              <a:gd name="T68" fmla="*/ 326 w 365"/>
              <a:gd name="T69" fmla="*/ 249 h 367"/>
              <a:gd name="T70" fmla="*/ 324 w 365"/>
              <a:gd name="T71" fmla="*/ 339 h 367"/>
              <a:gd name="T72" fmla="*/ 127 w 365"/>
              <a:gd name="T73" fmla="*/ 288 h 367"/>
              <a:gd name="T74" fmla="*/ 259 w 365"/>
              <a:gd name="T75" fmla="*/ 352 h 367"/>
              <a:gd name="T76" fmla="*/ 209 w 365"/>
              <a:gd name="T77" fmla="*/ 336 h 367"/>
              <a:gd name="T78" fmla="*/ 161 w 365"/>
              <a:gd name="T79" fmla="*/ 342 h 367"/>
              <a:gd name="T80" fmla="*/ 205 w 365"/>
              <a:gd name="T81" fmla="*/ 352 h 367"/>
              <a:gd name="T82" fmla="*/ 241 w 365"/>
              <a:gd name="T83" fmla="*/ 362 h 367"/>
              <a:gd name="T84" fmla="*/ 285 w 365"/>
              <a:gd name="T85" fmla="*/ 272 h 367"/>
              <a:gd name="T86" fmla="*/ 79 w 365"/>
              <a:gd name="T87" fmla="*/ 186 h 367"/>
              <a:gd name="T88" fmla="*/ 47 w 365"/>
              <a:gd name="T89" fmla="*/ 207 h 367"/>
              <a:gd name="T90" fmla="*/ 81 w 365"/>
              <a:gd name="T91" fmla="*/ 260 h 367"/>
              <a:gd name="T92" fmla="*/ 113 w 365"/>
              <a:gd name="T93" fmla="*/ 262 h 367"/>
              <a:gd name="T94" fmla="*/ 129 w 365"/>
              <a:gd name="T95" fmla="*/ 270 h 367"/>
              <a:gd name="T96" fmla="*/ 117 w 365"/>
              <a:gd name="T97" fmla="*/ 221 h 367"/>
              <a:gd name="T98" fmla="*/ 132 w 365"/>
              <a:gd name="T99"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3"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1" name="Freeform 68"/>
          <p:cNvSpPr>
            <a:spLocks noChangeAspect="1"/>
          </p:cNvSpPr>
          <p:nvPr/>
        </p:nvSpPr>
        <p:spPr bwMode="gray">
          <a:xfrm>
            <a:off x="4654550" y="3084513"/>
            <a:ext cx="55563" cy="10160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2" name="Freeform 69"/>
          <p:cNvSpPr>
            <a:spLocks noChangeAspect="1"/>
          </p:cNvSpPr>
          <p:nvPr/>
        </p:nvSpPr>
        <p:spPr bwMode="gray">
          <a:xfrm>
            <a:off x="4737100" y="3035300"/>
            <a:ext cx="150813" cy="95250"/>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3" name="Freeform 70"/>
          <p:cNvSpPr>
            <a:spLocks noChangeAspect="1"/>
          </p:cNvSpPr>
          <p:nvPr/>
        </p:nvSpPr>
        <p:spPr bwMode="gray">
          <a:xfrm>
            <a:off x="4691063" y="3094038"/>
            <a:ext cx="65087" cy="53975"/>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6"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4" name="Freeform 71"/>
          <p:cNvSpPr>
            <a:spLocks noChangeAspect="1"/>
          </p:cNvSpPr>
          <p:nvPr/>
        </p:nvSpPr>
        <p:spPr bwMode="gray">
          <a:xfrm>
            <a:off x="4830763" y="2895600"/>
            <a:ext cx="80962" cy="96838"/>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5" name="Freeform 72"/>
          <p:cNvSpPr>
            <a:spLocks noChangeAspect="1"/>
          </p:cNvSpPr>
          <p:nvPr/>
        </p:nvSpPr>
        <p:spPr bwMode="gray">
          <a:xfrm>
            <a:off x="4416425" y="2932113"/>
            <a:ext cx="7938" cy="7937"/>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6" name="Freeform 73"/>
          <p:cNvSpPr>
            <a:spLocks noChangeAspect="1"/>
          </p:cNvSpPr>
          <p:nvPr/>
        </p:nvSpPr>
        <p:spPr bwMode="gray">
          <a:xfrm>
            <a:off x="4679950" y="2898775"/>
            <a:ext cx="234950" cy="155575"/>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7" name="Freeform 74"/>
          <p:cNvSpPr>
            <a:spLocks noChangeAspect="1"/>
          </p:cNvSpPr>
          <p:nvPr/>
        </p:nvSpPr>
        <p:spPr bwMode="gray">
          <a:xfrm>
            <a:off x="4570413" y="2998788"/>
            <a:ext cx="96837" cy="95250"/>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8" name="Freeform 75"/>
          <p:cNvSpPr>
            <a:spLocks noChangeAspect="1"/>
          </p:cNvSpPr>
          <p:nvPr/>
        </p:nvSpPr>
        <p:spPr bwMode="gray">
          <a:xfrm>
            <a:off x="4637088" y="2967038"/>
            <a:ext cx="115887" cy="142875"/>
          </a:xfrm>
          <a:custGeom>
            <a:avLst/>
            <a:gdLst>
              <a:gd name="T0" fmla="*/ 40 w 200"/>
              <a:gd name="T1" fmla="*/ 217 h 233"/>
              <a:gd name="T2" fmla="*/ 46 w 200"/>
              <a:gd name="T3" fmla="*/ 211 h 233"/>
              <a:gd name="T4" fmla="*/ 54 w 200"/>
              <a:gd name="T5" fmla="*/ 192 h 233"/>
              <a:gd name="T6" fmla="*/ 78 w 200"/>
              <a:gd name="T7" fmla="*/ 196 h 233"/>
              <a:gd name="T8" fmla="*/ 95 w 200"/>
              <a:gd name="T9" fmla="*/ 211 h 233"/>
              <a:gd name="T10" fmla="*/ 99 w 200"/>
              <a:gd name="T11" fmla="*/ 233 h 233"/>
              <a:gd name="T12" fmla="*/ 115 w 200"/>
              <a:gd name="T13" fmla="*/ 221 h 233"/>
              <a:gd name="T14" fmla="*/ 130 w 200"/>
              <a:gd name="T15" fmla="*/ 213 h 233"/>
              <a:gd name="T16" fmla="*/ 147 w 200"/>
              <a:gd name="T17" fmla="*/ 209 h 233"/>
              <a:gd name="T18" fmla="*/ 182 w 200"/>
              <a:gd name="T19" fmla="*/ 203 h 233"/>
              <a:gd name="T20" fmla="*/ 179 w 200"/>
              <a:gd name="T21" fmla="*/ 181 h 233"/>
              <a:gd name="T22" fmla="*/ 198 w 200"/>
              <a:gd name="T23" fmla="*/ 169 h 233"/>
              <a:gd name="T24" fmla="*/ 182 w 200"/>
              <a:gd name="T25" fmla="*/ 152 h 233"/>
              <a:gd name="T26" fmla="*/ 175 w 200"/>
              <a:gd name="T27" fmla="*/ 140 h 233"/>
              <a:gd name="T28" fmla="*/ 181 w 200"/>
              <a:gd name="T29" fmla="*/ 120 h 233"/>
              <a:gd name="T30" fmla="*/ 176 w 200"/>
              <a:gd name="T31" fmla="*/ 102 h 233"/>
              <a:gd name="T32" fmla="*/ 186 w 200"/>
              <a:gd name="T33" fmla="*/ 88 h 233"/>
              <a:gd name="T34" fmla="*/ 154 w 200"/>
              <a:gd name="T35" fmla="*/ 91 h 233"/>
              <a:gd name="T36" fmla="*/ 132 w 200"/>
              <a:gd name="T37" fmla="*/ 82 h 233"/>
              <a:gd name="T38" fmla="*/ 130 w 200"/>
              <a:gd name="T39" fmla="*/ 56 h 233"/>
              <a:gd name="T40" fmla="*/ 106 w 200"/>
              <a:gd name="T41" fmla="*/ 48 h 233"/>
              <a:gd name="T42" fmla="*/ 92 w 200"/>
              <a:gd name="T43" fmla="*/ 27 h 233"/>
              <a:gd name="T44" fmla="*/ 63 w 200"/>
              <a:gd name="T45" fmla="*/ 6 h 233"/>
              <a:gd name="T46" fmla="*/ 33 w 200"/>
              <a:gd name="T47" fmla="*/ 17 h 233"/>
              <a:gd name="T48" fmla="*/ 15 w 200"/>
              <a:gd name="T49" fmla="*/ 21 h 233"/>
              <a:gd name="T50" fmla="*/ 21 w 200"/>
              <a:gd name="T51" fmla="*/ 40 h 233"/>
              <a:gd name="T52" fmla="*/ 23 w 200"/>
              <a:gd name="T53" fmla="*/ 53 h 233"/>
              <a:gd name="T54" fmla="*/ 27 w 200"/>
              <a:gd name="T55" fmla="*/ 65 h 233"/>
              <a:gd name="T56" fmla="*/ 20 w 200"/>
              <a:gd name="T57" fmla="*/ 72 h 233"/>
              <a:gd name="T58" fmla="*/ 42 w 200"/>
              <a:gd name="T59" fmla="*/ 76 h 233"/>
              <a:gd name="T60" fmla="*/ 30 w 200"/>
              <a:gd name="T61" fmla="*/ 106 h 233"/>
              <a:gd name="T62" fmla="*/ 52 w 200"/>
              <a:gd name="T63" fmla="*/ 118 h 233"/>
              <a:gd name="T64" fmla="*/ 50 w 200"/>
              <a:gd name="T65" fmla="*/ 140 h 233"/>
              <a:gd name="T66" fmla="*/ 29 w 200"/>
              <a:gd name="T67" fmla="*/ 158 h 233"/>
              <a:gd name="T68" fmla="*/ 9 w 200"/>
              <a:gd name="T69" fmla="*/ 172 h 233"/>
              <a:gd name="T70" fmla="*/ 3 w 200"/>
              <a:gd name="T71" fmla="*/ 182 h 233"/>
              <a:gd name="T72" fmla="*/ 4 w 200"/>
              <a:gd name="T73" fmla="*/ 207 h 233"/>
              <a:gd name="T74" fmla="*/ 24 w 200"/>
              <a:gd name="T75" fmla="*/ 205 h 233"/>
              <a:gd name="T76" fmla="*/ 41 w 200"/>
              <a:gd name="T77" fmla="*/ 233 h 233"/>
              <a:gd name="T78" fmla="*/ 46 w 200"/>
              <a:gd name="T79" fmla="*/ 21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 h="233">
                <a:moveTo>
                  <a:pt x="46" y="214"/>
                </a:moveTo>
                <a:cubicBezTo>
                  <a:pt x="40" y="217"/>
                  <a:pt x="40" y="217"/>
                  <a:pt x="40" y="217"/>
                </a:cubicBezTo>
                <a:cubicBezTo>
                  <a:pt x="31" y="211"/>
                  <a:pt x="31" y="211"/>
                  <a:pt x="31" y="211"/>
                </a:cubicBezTo>
                <a:cubicBezTo>
                  <a:pt x="46" y="211"/>
                  <a:pt x="46" y="211"/>
                  <a:pt x="46" y="211"/>
                </a:cubicBezTo>
                <a:cubicBezTo>
                  <a:pt x="52" y="206"/>
                  <a:pt x="52" y="206"/>
                  <a:pt x="52" y="206"/>
                </a:cubicBezTo>
                <a:cubicBezTo>
                  <a:pt x="54" y="192"/>
                  <a:pt x="54" y="192"/>
                  <a:pt x="54" y="192"/>
                </a:cubicBezTo>
                <a:cubicBezTo>
                  <a:pt x="72" y="202"/>
                  <a:pt x="72" y="202"/>
                  <a:pt x="72" y="202"/>
                </a:cubicBezTo>
                <a:cubicBezTo>
                  <a:pt x="78" y="196"/>
                  <a:pt x="78" y="196"/>
                  <a:pt x="78" y="196"/>
                </a:cubicBezTo>
                <a:cubicBezTo>
                  <a:pt x="86" y="211"/>
                  <a:pt x="86" y="211"/>
                  <a:pt x="86" y="211"/>
                </a:cubicBezTo>
                <a:cubicBezTo>
                  <a:pt x="95" y="211"/>
                  <a:pt x="95" y="211"/>
                  <a:pt x="95" y="211"/>
                </a:cubicBezTo>
                <a:cubicBezTo>
                  <a:pt x="99" y="221"/>
                  <a:pt x="99" y="221"/>
                  <a:pt x="99" y="221"/>
                </a:cubicBezTo>
                <a:cubicBezTo>
                  <a:pt x="99" y="233"/>
                  <a:pt x="99" y="233"/>
                  <a:pt x="99" y="233"/>
                </a:cubicBezTo>
                <a:cubicBezTo>
                  <a:pt x="110" y="229"/>
                  <a:pt x="110" y="229"/>
                  <a:pt x="110" y="229"/>
                </a:cubicBezTo>
                <a:cubicBezTo>
                  <a:pt x="115" y="221"/>
                  <a:pt x="115" y="221"/>
                  <a:pt x="115" y="221"/>
                </a:cubicBezTo>
                <a:cubicBezTo>
                  <a:pt x="115" y="221"/>
                  <a:pt x="120" y="221"/>
                  <a:pt x="127" y="221"/>
                </a:cubicBezTo>
                <a:cubicBezTo>
                  <a:pt x="134" y="221"/>
                  <a:pt x="130" y="213"/>
                  <a:pt x="130" y="213"/>
                </a:cubicBezTo>
                <a:cubicBezTo>
                  <a:pt x="143" y="213"/>
                  <a:pt x="143" y="213"/>
                  <a:pt x="143" y="213"/>
                </a:cubicBezTo>
                <a:cubicBezTo>
                  <a:pt x="147" y="209"/>
                  <a:pt x="147" y="209"/>
                  <a:pt x="147" y="209"/>
                </a:cubicBezTo>
                <a:cubicBezTo>
                  <a:pt x="173" y="207"/>
                  <a:pt x="173" y="207"/>
                  <a:pt x="173" y="207"/>
                </a:cubicBezTo>
                <a:cubicBezTo>
                  <a:pt x="173" y="207"/>
                  <a:pt x="181" y="206"/>
                  <a:pt x="182" y="203"/>
                </a:cubicBezTo>
                <a:cubicBezTo>
                  <a:pt x="183" y="200"/>
                  <a:pt x="180" y="192"/>
                  <a:pt x="180" y="192"/>
                </a:cubicBezTo>
                <a:cubicBezTo>
                  <a:pt x="180" y="192"/>
                  <a:pt x="177" y="185"/>
                  <a:pt x="179" y="181"/>
                </a:cubicBezTo>
                <a:cubicBezTo>
                  <a:pt x="181" y="177"/>
                  <a:pt x="192" y="180"/>
                  <a:pt x="192" y="180"/>
                </a:cubicBezTo>
                <a:cubicBezTo>
                  <a:pt x="192" y="180"/>
                  <a:pt x="196" y="173"/>
                  <a:pt x="198" y="169"/>
                </a:cubicBezTo>
                <a:cubicBezTo>
                  <a:pt x="200" y="165"/>
                  <a:pt x="195" y="159"/>
                  <a:pt x="195" y="159"/>
                </a:cubicBezTo>
                <a:cubicBezTo>
                  <a:pt x="182" y="152"/>
                  <a:pt x="182" y="152"/>
                  <a:pt x="182" y="152"/>
                </a:cubicBezTo>
                <a:cubicBezTo>
                  <a:pt x="184" y="145"/>
                  <a:pt x="184" y="145"/>
                  <a:pt x="184" y="145"/>
                </a:cubicBezTo>
                <a:cubicBezTo>
                  <a:pt x="175" y="140"/>
                  <a:pt x="175" y="140"/>
                  <a:pt x="175" y="140"/>
                </a:cubicBezTo>
                <a:cubicBezTo>
                  <a:pt x="172" y="128"/>
                  <a:pt x="172" y="128"/>
                  <a:pt x="172" y="128"/>
                </a:cubicBezTo>
                <a:cubicBezTo>
                  <a:pt x="181" y="120"/>
                  <a:pt x="181" y="120"/>
                  <a:pt x="181" y="120"/>
                </a:cubicBezTo>
                <a:cubicBezTo>
                  <a:pt x="183" y="106"/>
                  <a:pt x="183" y="106"/>
                  <a:pt x="183" y="106"/>
                </a:cubicBezTo>
                <a:cubicBezTo>
                  <a:pt x="176" y="102"/>
                  <a:pt x="176" y="102"/>
                  <a:pt x="176" y="102"/>
                </a:cubicBezTo>
                <a:cubicBezTo>
                  <a:pt x="183" y="94"/>
                  <a:pt x="183" y="94"/>
                  <a:pt x="183" y="94"/>
                </a:cubicBezTo>
                <a:cubicBezTo>
                  <a:pt x="186" y="88"/>
                  <a:pt x="186" y="88"/>
                  <a:pt x="186" y="88"/>
                </a:cubicBezTo>
                <a:cubicBezTo>
                  <a:pt x="170" y="84"/>
                  <a:pt x="170" y="84"/>
                  <a:pt x="170" y="84"/>
                </a:cubicBezTo>
                <a:cubicBezTo>
                  <a:pt x="154" y="91"/>
                  <a:pt x="154" y="91"/>
                  <a:pt x="154" y="91"/>
                </a:cubicBezTo>
                <a:cubicBezTo>
                  <a:pt x="148" y="84"/>
                  <a:pt x="148" y="84"/>
                  <a:pt x="148" y="84"/>
                </a:cubicBezTo>
                <a:cubicBezTo>
                  <a:pt x="132" y="82"/>
                  <a:pt x="132" y="82"/>
                  <a:pt x="132" y="82"/>
                </a:cubicBezTo>
                <a:cubicBezTo>
                  <a:pt x="127" y="71"/>
                  <a:pt x="127" y="71"/>
                  <a:pt x="127" y="71"/>
                </a:cubicBezTo>
                <a:cubicBezTo>
                  <a:pt x="127" y="71"/>
                  <a:pt x="132" y="62"/>
                  <a:pt x="130" y="56"/>
                </a:cubicBezTo>
                <a:cubicBezTo>
                  <a:pt x="128" y="50"/>
                  <a:pt x="116" y="49"/>
                  <a:pt x="114" y="54"/>
                </a:cubicBezTo>
                <a:cubicBezTo>
                  <a:pt x="112" y="59"/>
                  <a:pt x="106" y="48"/>
                  <a:pt x="106" y="48"/>
                </a:cubicBezTo>
                <a:cubicBezTo>
                  <a:pt x="98" y="25"/>
                  <a:pt x="98" y="25"/>
                  <a:pt x="98" y="25"/>
                </a:cubicBezTo>
                <a:cubicBezTo>
                  <a:pt x="92" y="27"/>
                  <a:pt x="92" y="27"/>
                  <a:pt x="92" y="27"/>
                </a:cubicBezTo>
                <a:cubicBezTo>
                  <a:pt x="77" y="13"/>
                  <a:pt x="77" y="13"/>
                  <a:pt x="77" y="13"/>
                </a:cubicBezTo>
                <a:cubicBezTo>
                  <a:pt x="63" y="6"/>
                  <a:pt x="63" y="6"/>
                  <a:pt x="63" y="6"/>
                </a:cubicBezTo>
                <a:cubicBezTo>
                  <a:pt x="63" y="6"/>
                  <a:pt x="48" y="0"/>
                  <a:pt x="45" y="6"/>
                </a:cubicBezTo>
                <a:cubicBezTo>
                  <a:pt x="42" y="12"/>
                  <a:pt x="33" y="17"/>
                  <a:pt x="33" y="17"/>
                </a:cubicBezTo>
                <a:cubicBezTo>
                  <a:pt x="18" y="17"/>
                  <a:pt x="18" y="17"/>
                  <a:pt x="18" y="17"/>
                </a:cubicBezTo>
                <a:cubicBezTo>
                  <a:pt x="15" y="21"/>
                  <a:pt x="15" y="21"/>
                  <a:pt x="15" y="21"/>
                </a:cubicBezTo>
                <a:cubicBezTo>
                  <a:pt x="17" y="22"/>
                  <a:pt x="17" y="22"/>
                  <a:pt x="17" y="22"/>
                </a:cubicBezTo>
                <a:cubicBezTo>
                  <a:pt x="21" y="40"/>
                  <a:pt x="21" y="40"/>
                  <a:pt x="21" y="40"/>
                </a:cubicBezTo>
                <a:cubicBezTo>
                  <a:pt x="26" y="41"/>
                  <a:pt x="26" y="41"/>
                  <a:pt x="26" y="41"/>
                </a:cubicBezTo>
                <a:cubicBezTo>
                  <a:pt x="23" y="53"/>
                  <a:pt x="23" y="53"/>
                  <a:pt x="23" y="53"/>
                </a:cubicBezTo>
                <a:cubicBezTo>
                  <a:pt x="23" y="53"/>
                  <a:pt x="39" y="56"/>
                  <a:pt x="40" y="59"/>
                </a:cubicBezTo>
                <a:cubicBezTo>
                  <a:pt x="41" y="62"/>
                  <a:pt x="27" y="65"/>
                  <a:pt x="27" y="65"/>
                </a:cubicBezTo>
                <a:cubicBezTo>
                  <a:pt x="25" y="72"/>
                  <a:pt x="25" y="72"/>
                  <a:pt x="25" y="72"/>
                </a:cubicBezTo>
                <a:cubicBezTo>
                  <a:pt x="20" y="72"/>
                  <a:pt x="20" y="72"/>
                  <a:pt x="20" y="72"/>
                </a:cubicBezTo>
                <a:cubicBezTo>
                  <a:pt x="23" y="77"/>
                  <a:pt x="23" y="77"/>
                  <a:pt x="23" y="77"/>
                </a:cubicBezTo>
                <a:cubicBezTo>
                  <a:pt x="23" y="77"/>
                  <a:pt x="42" y="71"/>
                  <a:pt x="42" y="76"/>
                </a:cubicBezTo>
                <a:cubicBezTo>
                  <a:pt x="42" y="81"/>
                  <a:pt x="30" y="95"/>
                  <a:pt x="30" y="95"/>
                </a:cubicBezTo>
                <a:cubicBezTo>
                  <a:pt x="30" y="106"/>
                  <a:pt x="30" y="106"/>
                  <a:pt x="30" y="106"/>
                </a:cubicBezTo>
                <a:cubicBezTo>
                  <a:pt x="30" y="106"/>
                  <a:pt x="34" y="103"/>
                  <a:pt x="41" y="105"/>
                </a:cubicBezTo>
                <a:cubicBezTo>
                  <a:pt x="48" y="107"/>
                  <a:pt x="52" y="118"/>
                  <a:pt x="52" y="118"/>
                </a:cubicBezTo>
                <a:cubicBezTo>
                  <a:pt x="38" y="120"/>
                  <a:pt x="38" y="120"/>
                  <a:pt x="38" y="120"/>
                </a:cubicBezTo>
                <a:cubicBezTo>
                  <a:pt x="38" y="120"/>
                  <a:pt x="52" y="133"/>
                  <a:pt x="50" y="140"/>
                </a:cubicBezTo>
                <a:cubicBezTo>
                  <a:pt x="48" y="147"/>
                  <a:pt x="29" y="143"/>
                  <a:pt x="29" y="143"/>
                </a:cubicBezTo>
                <a:cubicBezTo>
                  <a:pt x="29" y="158"/>
                  <a:pt x="29" y="158"/>
                  <a:pt x="29" y="158"/>
                </a:cubicBezTo>
                <a:cubicBezTo>
                  <a:pt x="29" y="158"/>
                  <a:pt x="21" y="153"/>
                  <a:pt x="18" y="157"/>
                </a:cubicBezTo>
                <a:cubicBezTo>
                  <a:pt x="15" y="161"/>
                  <a:pt x="9" y="172"/>
                  <a:pt x="9" y="172"/>
                </a:cubicBezTo>
                <a:cubicBezTo>
                  <a:pt x="4" y="172"/>
                  <a:pt x="4" y="172"/>
                  <a:pt x="4" y="172"/>
                </a:cubicBezTo>
                <a:cubicBezTo>
                  <a:pt x="4" y="172"/>
                  <a:pt x="0" y="179"/>
                  <a:pt x="3" y="182"/>
                </a:cubicBezTo>
                <a:cubicBezTo>
                  <a:pt x="6" y="185"/>
                  <a:pt x="17" y="191"/>
                  <a:pt x="17" y="191"/>
                </a:cubicBezTo>
                <a:cubicBezTo>
                  <a:pt x="4" y="207"/>
                  <a:pt x="4" y="207"/>
                  <a:pt x="4" y="207"/>
                </a:cubicBezTo>
                <a:cubicBezTo>
                  <a:pt x="5" y="208"/>
                  <a:pt x="6" y="208"/>
                  <a:pt x="6" y="208"/>
                </a:cubicBezTo>
                <a:cubicBezTo>
                  <a:pt x="13" y="210"/>
                  <a:pt x="24" y="205"/>
                  <a:pt x="24" y="205"/>
                </a:cubicBezTo>
                <a:cubicBezTo>
                  <a:pt x="24" y="217"/>
                  <a:pt x="24" y="217"/>
                  <a:pt x="24" y="217"/>
                </a:cubicBezTo>
                <a:cubicBezTo>
                  <a:pt x="41" y="233"/>
                  <a:pt x="41" y="233"/>
                  <a:pt x="41" y="233"/>
                </a:cubicBezTo>
                <a:cubicBezTo>
                  <a:pt x="48" y="224"/>
                  <a:pt x="48" y="224"/>
                  <a:pt x="48" y="224"/>
                </a:cubicBezTo>
                <a:lnTo>
                  <a:pt x="46" y="214"/>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79" name="Freeform 76"/>
          <p:cNvSpPr>
            <a:spLocks noChangeAspect="1"/>
          </p:cNvSpPr>
          <p:nvPr/>
        </p:nvSpPr>
        <p:spPr bwMode="gray">
          <a:xfrm>
            <a:off x="4521200" y="2957513"/>
            <a:ext cx="138113" cy="115887"/>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0" name="Freeform 77"/>
          <p:cNvSpPr>
            <a:spLocks noChangeAspect="1"/>
          </p:cNvSpPr>
          <p:nvPr/>
        </p:nvSpPr>
        <p:spPr bwMode="gray">
          <a:xfrm>
            <a:off x="4513263" y="2946400"/>
            <a:ext cx="77787" cy="47625"/>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1" name="Freeform 78"/>
          <p:cNvSpPr>
            <a:spLocks noChangeAspect="1"/>
          </p:cNvSpPr>
          <p:nvPr/>
        </p:nvSpPr>
        <p:spPr bwMode="gray">
          <a:xfrm>
            <a:off x="4594225" y="2859088"/>
            <a:ext cx="136525" cy="60325"/>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2" name="Freeform 79"/>
          <p:cNvSpPr>
            <a:spLocks noChangeAspect="1"/>
          </p:cNvSpPr>
          <p:nvPr/>
        </p:nvSpPr>
        <p:spPr bwMode="gray">
          <a:xfrm>
            <a:off x="4581525" y="2892425"/>
            <a:ext cx="161925" cy="92075"/>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3" name="Freeform 80"/>
          <p:cNvSpPr>
            <a:spLocks noChangeAspect="1"/>
          </p:cNvSpPr>
          <p:nvPr/>
        </p:nvSpPr>
        <p:spPr bwMode="gray">
          <a:xfrm>
            <a:off x="4679950" y="2640013"/>
            <a:ext cx="131763" cy="80962"/>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4" name="Freeform 81"/>
          <p:cNvSpPr>
            <a:spLocks noChangeAspect="1"/>
          </p:cNvSpPr>
          <p:nvPr/>
        </p:nvSpPr>
        <p:spPr bwMode="gray">
          <a:xfrm>
            <a:off x="4335463" y="2914650"/>
            <a:ext cx="114300" cy="69850"/>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5" name="Freeform 82"/>
          <p:cNvSpPr>
            <a:spLocks noChangeAspect="1" noEditPoints="1"/>
          </p:cNvSpPr>
          <p:nvPr/>
        </p:nvSpPr>
        <p:spPr bwMode="gray">
          <a:xfrm>
            <a:off x="4351338" y="2938463"/>
            <a:ext cx="295275" cy="342900"/>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6" name="Freeform 83"/>
          <p:cNvSpPr>
            <a:spLocks noChangeAspect="1"/>
          </p:cNvSpPr>
          <p:nvPr/>
        </p:nvSpPr>
        <p:spPr bwMode="gray">
          <a:xfrm>
            <a:off x="4484688" y="2811463"/>
            <a:ext cx="157162" cy="82550"/>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7" name="Freeform 84"/>
          <p:cNvSpPr>
            <a:spLocks noChangeAspect="1"/>
          </p:cNvSpPr>
          <p:nvPr/>
        </p:nvSpPr>
        <p:spPr bwMode="gray">
          <a:xfrm>
            <a:off x="4527550" y="2693988"/>
            <a:ext cx="238125" cy="184150"/>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8" name="Freeform 85"/>
          <p:cNvSpPr>
            <a:spLocks noChangeAspect="1"/>
          </p:cNvSpPr>
          <p:nvPr/>
        </p:nvSpPr>
        <p:spPr bwMode="gray">
          <a:xfrm>
            <a:off x="4332288" y="2841625"/>
            <a:ext cx="20637" cy="19050"/>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89" name="Freeform 86"/>
          <p:cNvSpPr>
            <a:spLocks noChangeAspect="1"/>
          </p:cNvSpPr>
          <p:nvPr/>
        </p:nvSpPr>
        <p:spPr bwMode="gray">
          <a:xfrm>
            <a:off x="4422775" y="2876550"/>
            <a:ext cx="176213" cy="84138"/>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0" name="Freeform 87"/>
          <p:cNvSpPr>
            <a:spLocks noChangeAspect="1"/>
          </p:cNvSpPr>
          <p:nvPr/>
        </p:nvSpPr>
        <p:spPr bwMode="gray">
          <a:xfrm>
            <a:off x="4520940" y="2996940"/>
            <a:ext cx="103187" cy="88900"/>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1" name="Freeform 88"/>
          <p:cNvSpPr>
            <a:spLocks noChangeAspect="1"/>
          </p:cNvSpPr>
          <p:nvPr/>
        </p:nvSpPr>
        <p:spPr bwMode="gray">
          <a:xfrm>
            <a:off x="4265613" y="2800350"/>
            <a:ext cx="84137" cy="61913"/>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rgbClr val="00B050"/>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2" name="Freeform 89"/>
          <p:cNvSpPr>
            <a:spLocks noChangeAspect="1"/>
          </p:cNvSpPr>
          <p:nvPr/>
        </p:nvSpPr>
        <p:spPr bwMode="gray">
          <a:xfrm>
            <a:off x="4338638" y="2689225"/>
            <a:ext cx="214312" cy="244475"/>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accent4">
              <a:lumMod val="60000"/>
              <a:lumOff val="40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3" name="Freeform 90"/>
          <p:cNvSpPr>
            <a:spLocks noChangeAspect="1"/>
          </p:cNvSpPr>
          <p:nvPr/>
        </p:nvSpPr>
        <p:spPr bwMode="gray">
          <a:xfrm>
            <a:off x="4222750" y="3084513"/>
            <a:ext cx="11113" cy="7937"/>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4" name="Freeform 91"/>
          <p:cNvSpPr>
            <a:spLocks noChangeAspect="1"/>
          </p:cNvSpPr>
          <p:nvPr/>
        </p:nvSpPr>
        <p:spPr bwMode="gray">
          <a:xfrm>
            <a:off x="6273800" y="2778125"/>
            <a:ext cx="803275" cy="342900"/>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5" name="Freeform 92"/>
          <p:cNvSpPr>
            <a:spLocks noChangeAspect="1"/>
          </p:cNvSpPr>
          <p:nvPr/>
        </p:nvSpPr>
        <p:spPr bwMode="gray">
          <a:xfrm>
            <a:off x="5168900" y="3054350"/>
            <a:ext cx="176213" cy="87313"/>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6" name="Freeform 93"/>
          <p:cNvSpPr>
            <a:spLocks noChangeAspect="1" noEditPoints="1"/>
          </p:cNvSpPr>
          <p:nvPr/>
        </p:nvSpPr>
        <p:spPr bwMode="gray">
          <a:xfrm>
            <a:off x="5302250" y="3109913"/>
            <a:ext cx="138113" cy="119062"/>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7" name="Freeform 94"/>
          <p:cNvSpPr>
            <a:spLocks noChangeAspect="1"/>
          </p:cNvSpPr>
          <p:nvPr/>
        </p:nvSpPr>
        <p:spPr bwMode="gray">
          <a:xfrm>
            <a:off x="3512800" y="2708900"/>
            <a:ext cx="427037" cy="255588"/>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8" name="Freeform 95"/>
          <p:cNvSpPr>
            <a:spLocks noChangeAspect="1"/>
          </p:cNvSpPr>
          <p:nvPr/>
        </p:nvSpPr>
        <p:spPr bwMode="gray">
          <a:xfrm>
            <a:off x="4737100" y="2651125"/>
            <a:ext cx="217488" cy="153988"/>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99" name="Freeform 96"/>
          <p:cNvSpPr>
            <a:spLocks noChangeAspect="1"/>
          </p:cNvSpPr>
          <p:nvPr/>
        </p:nvSpPr>
        <p:spPr bwMode="gray">
          <a:xfrm>
            <a:off x="4676775" y="2589213"/>
            <a:ext cx="165100" cy="74612"/>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0" name="Freeform 97"/>
          <p:cNvSpPr>
            <a:spLocks noChangeAspect="1"/>
          </p:cNvSpPr>
          <p:nvPr/>
        </p:nvSpPr>
        <p:spPr bwMode="gray">
          <a:xfrm>
            <a:off x="4643438" y="2238375"/>
            <a:ext cx="242887" cy="295275"/>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1" name="Freeform 98"/>
          <p:cNvSpPr>
            <a:spLocks noChangeAspect="1"/>
          </p:cNvSpPr>
          <p:nvPr/>
        </p:nvSpPr>
        <p:spPr bwMode="gray">
          <a:xfrm>
            <a:off x="5076825" y="3421063"/>
            <a:ext cx="17463" cy="44450"/>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2" name="Freeform 99"/>
          <p:cNvSpPr>
            <a:spLocks noChangeAspect="1"/>
          </p:cNvSpPr>
          <p:nvPr/>
        </p:nvSpPr>
        <p:spPr bwMode="gray">
          <a:xfrm>
            <a:off x="5084763" y="3394075"/>
            <a:ext cx="106362" cy="144463"/>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3"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3" name="Freeform 100"/>
          <p:cNvSpPr>
            <a:spLocks noChangeAspect="1"/>
          </p:cNvSpPr>
          <p:nvPr/>
        </p:nvSpPr>
        <p:spPr bwMode="gray">
          <a:xfrm>
            <a:off x="5060950" y="3390900"/>
            <a:ext cx="38100" cy="133350"/>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4" name="Freeform 101"/>
          <p:cNvSpPr>
            <a:spLocks noChangeAspect="1"/>
          </p:cNvSpPr>
          <p:nvPr/>
        </p:nvSpPr>
        <p:spPr bwMode="gray">
          <a:xfrm>
            <a:off x="3716338" y="3581400"/>
            <a:ext cx="230187" cy="212725"/>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5" name="Freeform 102"/>
          <p:cNvSpPr>
            <a:spLocks noChangeAspect="1"/>
          </p:cNvSpPr>
          <p:nvPr/>
        </p:nvSpPr>
        <p:spPr bwMode="gray">
          <a:xfrm>
            <a:off x="3725863" y="4078288"/>
            <a:ext cx="69850" cy="61912"/>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6" name="Freeform 103"/>
          <p:cNvSpPr>
            <a:spLocks noChangeAspect="1"/>
          </p:cNvSpPr>
          <p:nvPr/>
        </p:nvSpPr>
        <p:spPr bwMode="gray">
          <a:xfrm>
            <a:off x="3713163" y="4041775"/>
            <a:ext cx="87312" cy="23813"/>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7" name="Freeform 104"/>
          <p:cNvSpPr>
            <a:spLocks noChangeAspect="1"/>
          </p:cNvSpPr>
          <p:nvPr/>
        </p:nvSpPr>
        <p:spPr bwMode="gray">
          <a:xfrm>
            <a:off x="3846513" y="4211638"/>
            <a:ext cx="117475" cy="146050"/>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8" name="Freeform 105"/>
          <p:cNvSpPr>
            <a:spLocks noChangeAspect="1"/>
          </p:cNvSpPr>
          <p:nvPr/>
        </p:nvSpPr>
        <p:spPr bwMode="gray">
          <a:xfrm>
            <a:off x="3803650" y="4165600"/>
            <a:ext cx="82550" cy="109538"/>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09" name="Freeform 106"/>
          <p:cNvSpPr>
            <a:spLocks noChangeAspect="1"/>
          </p:cNvSpPr>
          <p:nvPr/>
        </p:nvSpPr>
        <p:spPr bwMode="gray">
          <a:xfrm>
            <a:off x="4875213" y="5449888"/>
            <a:ext cx="63500" cy="69850"/>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0" name="Freeform 107"/>
          <p:cNvSpPr>
            <a:spLocks noChangeAspect="1"/>
          </p:cNvSpPr>
          <p:nvPr/>
        </p:nvSpPr>
        <p:spPr bwMode="gray">
          <a:xfrm>
            <a:off x="4398963" y="4421188"/>
            <a:ext cx="160337" cy="211137"/>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1" name="Freeform 108"/>
          <p:cNvSpPr>
            <a:spLocks noChangeAspect="1"/>
          </p:cNvSpPr>
          <p:nvPr/>
        </p:nvSpPr>
        <p:spPr bwMode="gray">
          <a:xfrm>
            <a:off x="4978400" y="5354638"/>
            <a:ext cx="42863" cy="55562"/>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2" name="Freeform 109"/>
          <p:cNvSpPr>
            <a:spLocks noChangeAspect="1"/>
          </p:cNvSpPr>
          <p:nvPr/>
        </p:nvSpPr>
        <p:spPr bwMode="gray">
          <a:xfrm>
            <a:off x="4478338" y="5065713"/>
            <a:ext cx="361950" cy="400050"/>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3" name="Freeform 110"/>
          <p:cNvSpPr>
            <a:spLocks noChangeAspect="1"/>
          </p:cNvSpPr>
          <p:nvPr/>
        </p:nvSpPr>
        <p:spPr bwMode="gray">
          <a:xfrm>
            <a:off x="4840288" y="5021263"/>
            <a:ext cx="214312" cy="225425"/>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4" name="Freeform 111"/>
          <p:cNvSpPr>
            <a:spLocks noChangeAspect="1"/>
          </p:cNvSpPr>
          <p:nvPr/>
        </p:nvSpPr>
        <p:spPr bwMode="gray">
          <a:xfrm>
            <a:off x="4694238" y="5092700"/>
            <a:ext cx="247650" cy="303213"/>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5" name="Freeform 112"/>
          <p:cNvSpPr>
            <a:spLocks noChangeAspect="1"/>
          </p:cNvSpPr>
          <p:nvPr/>
        </p:nvSpPr>
        <p:spPr bwMode="gray">
          <a:xfrm>
            <a:off x="5273675" y="4100513"/>
            <a:ext cx="273050" cy="458787"/>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6" name="Freeform 113"/>
          <p:cNvSpPr>
            <a:spLocks noChangeAspect="1"/>
          </p:cNvSpPr>
          <p:nvPr/>
        </p:nvSpPr>
        <p:spPr bwMode="gray">
          <a:xfrm>
            <a:off x="5286375" y="4079875"/>
            <a:ext cx="49213" cy="57150"/>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7" name="Freeform 114"/>
          <p:cNvSpPr>
            <a:spLocks noChangeAspect="1"/>
          </p:cNvSpPr>
          <p:nvPr/>
        </p:nvSpPr>
        <p:spPr bwMode="gray">
          <a:xfrm>
            <a:off x="5140325" y="3902075"/>
            <a:ext cx="182563" cy="187325"/>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8" name="Freeform 115"/>
          <p:cNvSpPr>
            <a:spLocks noChangeAspect="1"/>
          </p:cNvSpPr>
          <p:nvPr/>
        </p:nvSpPr>
        <p:spPr bwMode="gray">
          <a:xfrm>
            <a:off x="5054600" y="4008438"/>
            <a:ext cx="404813" cy="379412"/>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19" name="Freeform 116"/>
          <p:cNvSpPr>
            <a:spLocks noChangeAspect="1"/>
          </p:cNvSpPr>
          <p:nvPr/>
        </p:nvSpPr>
        <p:spPr bwMode="gray">
          <a:xfrm>
            <a:off x="4811713" y="3448050"/>
            <a:ext cx="303212" cy="338138"/>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0" name="Freeform 117"/>
          <p:cNvSpPr>
            <a:spLocks noChangeAspect="1"/>
          </p:cNvSpPr>
          <p:nvPr/>
        </p:nvSpPr>
        <p:spPr bwMode="gray">
          <a:xfrm>
            <a:off x="4394200" y="4067175"/>
            <a:ext cx="206375" cy="379413"/>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1" name="Freeform 118"/>
          <p:cNvSpPr>
            <a:spLocks noChangeAspect="1"/>
          </p:cNvSpPr>
          <p:nvPr/>
        </p:nvSpPr>
        <p:spPr bwMode="gray">
          <a:xfrm>
            <a:off x="3825875" y="3311525"/>
            <a:ext cx="323850" cy="269875"/>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2" name="Freeform 119"/>
          <p:cNvSpPr>
            <a:spLocks noChangeAspect="1"/>
          </p:cNvSpPr>
          <p:nvPr/>
        </p:nvSpPr>
        <p:spPr bwMode="gray">
          <a:xfrm>
            <a:off x="4370388" y="3257550"/>
            <a:ext cx="107950" cy="239713"/>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3" name="Freeform 120"/>
          <p:cNvSpPr>
            <a:spLocks noChangeAspect="1"/>
          </p:cNvSpPr>
          <p:nvPr/>
        </p:nvSpPr>
        <p:spPr bwMode="gray">
          <a:xfrm>
            <a:off x="4073525" y="4132263"/>
            <a:ext cx="123825" cy="214312"/>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4" name="Freeform 121"/>
          <p:cNvSpPr>
            <a:spLocks noChangeAspect="1"/>
          </p:cNvSpPr>
          <p:nvPr/>
        </p:nvSpPr>
        <p:spPr bwMode="gray">
          <a:xfrm>
            <a:off x="4162425" y="4133850"/>
            <a:ext cx="52388" cy="168275"/>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5" name="Freeform 122"/>
          <p:cNvSpPr>
            <a:spLocks noChangeAspect="1"/>
          </p:cNvSpPr>
          <p:nvPr/>
        </p:nvSpPr>
        <p:spPr bwMode="gray">
          <a:xfrm>
            <a:off x="4184650" y="4089400"/>
            <a:ext cx="85725" cy="207963"/>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6" name="Freeform 123"/>
          <p:cNvSpPr>
            <a:spLocks noChangeAspect="1"/>
          </p:cNvSpPr>
          <p:nvPr/>
        </p:nvSpPr>
        <p:spPr bwMode="gray">
          <a:xfrm>
            <a:off x="4237038" y="4041775"/>
            <a:ext cx="323850" cy="315913"/>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7" name="Freeform 124"/>
          <p:cNvSpPr>
            <a:spLocks noChangeAspect="1"/>
          </p:cNvSpPr>
          <p:nvPr/>
        </p:nvSpPr>
        <p:spPr bwMode="gray">
          <a:xfrm>
            <a:off x="4525963" y="3721100"/>
            <a:ext cx="282575" cy="533400"/>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8" name="Freeform 125"/>
          <p:cNvSpPr>
            <a:spLocks noChangeAspect="1"/>
          </p:cNvSpPr>
          <p:nvPr/>
        </p:nvSpPr>
        <p:spPr bwMode="gray">
          <a:xfrm>
            <a:off x="3833813" y="3668713"/>
            <a:ext cx="446087" cy="495300"/>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29" name="Freeform 126"/>
          <p:cNvSpPr>
            <a:spLocks noChangeAspect="1"/>
          </p:cNvSpPr>
          <p:nvPr/>
        </p:nvSpPr>
        <p:spPr bwMode="gray">
          <a:xfrm>
            <a:off x="3698875" y="3943350"/>
            <a:ext cx="158750" cy="153988"/>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0" name="Freeform 127"/>
          <p:cNvSpPr>
            <a:spLocks noChangeAspect="1"/>
          </p:cNvSpPr>
          <p:nvPr/>
        </p:nvSpPr>
        <p:spPr bwMode="gray">
          <a:xfrm>
            <a:off x="3760788" y="4079875"/>
            <a:ext cx="198437" cy="184150"/>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1" name="Freeform 128"/>
          <p:cNvSpPr>
            <a:spLocks noChangeAspect="1"/>
          </p:cNvSpPr>
          <p:nvPr/>
        </p:nvSpPr>
        <p:spPr bwMode="gray">
          <a:xfrm>
            <a:off x="3716338" y="3595688"/>
            <a:ext cx="327025" cy="415925"/>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2" name="Freeform 129"/>
          <p:cNvSpPr>
            <a:spLocks noChangeAspect="1"/>
          </p:cNvSpPr>
          <p:nvPr/>
        </p:nvSpPr>
        <p:spPr bwMode="gray">
          <a:xfrm>
            <a:off x="4013200" y="4000500"/>
            <a:ext cx="219075" cy="187325"/>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3" name="Freeform 130"/>
          <p:cNvSpPr>
            <a:spLocks noChangeAspect="1"/>
          </p:cNvSpPr>
          <p:nvPr/>
        </p:nvSpPr>
        <p:spPr bwMode="gray">
          <a:xfrm>
            <a:off x="3930650" y="4144963"/>
            <a:ext cx="165100" cy="212725"/>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4" name="Freeform 131"/>
          <p:cNvSpPr>
            <a:spLocks noChangeAspect="1"/>
          </p:cNvSpPr>
          <p:nvPr/>
        </p:nvSpPr>
        <p:spPr bwMode="gray">
          <a:xfrm>
            <a:off x="4171950" y="3721100"/>
            <a:ext cx="420688" cy="387350"/>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5" name="Freeform 132"/>
          <p:cNvSpPr>
            <a:spLocks noChangeAspect="1"/>
          </p:cNvSpPr>
          <p:nvPr/>
        </p:nvSpPr>
        <p:spPr bwMode="gray">
          <a:xfrm>
            <a:off x="3925888" y="3265488"/>
            <a:ext cx="560387" cy="606425"/>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6" name="Freeform 133"/>
          <p:cNvSpPr>
            <a:spLocks noChangeAspect="1"/>
          </p:cNvSpPr>
          <p:nvPr/>
        </p:nvSpPr>
        <p:spPr bwMode="gray">
          <a:xfrm>
            <a:off x="4416425" y="3397250"/>
            <a:ext cx="415925" cy="457200"/>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7" name="Freeform 134"/>
          <p:cNvSpPr>
            <a:spLocks noChangeAspect="1" noEditPoints="1"/>
          </p:cNvSpPr>
          <p:nvPr/>
        </p:nvSpPr>
        <p:spPr bwMode="gray">
          <a:xfrm>
            <a:off x="4476750" y="4646613"/>
            <a:ext cx="341313" cy="452437"/>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8" name="Freeform 135"/>
          <p:cNvSpPr>
            <a:spLocks noChangeAspect="1"/>
          </p:cNvSpPr>
          <p:nvPr/>
        </p:nvSpPr>
        <p:spPr bwMode="gray">
          <a:xfrm>
            <a:off x="4940300" y="4537075"/>
            <a:ext cx="58738" cy="60325"/>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39" name="Freeform 136"/>
          <p:cNvSpPr>
            <a:spLocks noChangeAspect="1"/>
          </p:cNvSpPr>
          <p:nvPr/>
        </p:nvSpPr>
        <p:spPr bwMode="gray">
          <a:xfrm>
            <a:off x="4552950" y="4137025"/>
            <a:ext cx="349250" cy="288925"/>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0" name="Freeform 137"/>
          <p:cNvSpPr>
            <a:spLocks noChangeAspect="1"/>
          </p:cNvSpPr>
          <p:nvPr/>
        </p:nvSpPr>
        <p:spPr bwMode="gray">
          <a:xfrm>
            <a:off x="4465638" y="4378325"/>
            <a:ext cx="200025" cy="288925"/>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1" name="Freeform 138"/>
          <p:cNvSpPr>
            <a:spLocks noChangeAspect="1"/>
          </p:cNvSpPr>
          <p:nvPr/>
        </p:nvSpPr>
        <p:spPr bwMode="gray">
          <a:xfrm>
            <a:off x="4751388" y="3733800"/>
            <a:ext cx="444500" cy="650875"/>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2" name="Freeform 139"/>
          <p:cNvSpPr>
            <a:spLocks noChangeAspect="1" noEditPoints="1"/>
          </p:cNvSpPr>
          <p:nvPr/>
        </p:nvSpPr>
        <p:spPr bwMode="gray">
          <a:xfrm>
            <a:off x="7747000" y="2817813"/>
            <a:ext cx="112713" cy="230187"/>
          </a:xfrm>
          <a:custGeom>
            <a:avLst/>
            <a:gdLst>
              <a:gd name="T0" fmla="*/ 0 w 199"/>
              <a:gd name="T1" fmla="*/ 371 h 371"/>
              <a:gd name="T2" fmla="*/ 9 w 199"/>
              <a:gd name="T3" fmla="*/ 368 h 371"/>
              <a:gd name="T4" fmla="*/ 25 w 199"/>
              <a:gd name="T5" fmla="*/ 341 h 371"/>
              <a:gd name="T6" fmla="*/ 12 w 199"/>
              <a:gd name="T7" fmla="*/ 332 h 371"/>
              <a:gd name="T8" fmla="*/ 0 w 199"/>
              <a:gd name="T9" fmla="*/ 371 h 371"/>
              <a:gd name="T10" fmla="*/ 76 w 199"/>
              <a:gd name="T11" fmla="*/ 289 h 371"/>
              <a:gd name="T12" fmla="*/ 49 w 199"/>
              <a:gd name="T13" fmla="*/ 285 h 371"/>
              <a:gd name="T14" fmla="*/ 36 w 199"/>
              <a:gd name="T15" fmla="*/ 332 h 371"/>
              <a:gd name="T16" fmla="*/ 43 w 199"/>
              <a:gd name="T17" fmla="*/ 334 h 371"/>
              <a:gd name="T18" fmla="*/ 55 w 199"/>
              <a:gd name="T19" fmla="*/ 310 h 371"/>
              <a:gd name="T20" fmla="*/ 88 w 199"/>
              <a:gd name="T21" fmla="*/ 292 h 371"/>
              <a:gd name="T22" fmla="*/ 79 w 199"/>
              <a:gd name="T23" fmla="*/ 276 h 371"/>
              <a:gd name="T24" fmla="*/ 76 w 199"/>
              <a:gd name="T25" fmla="*/ 289 h 371"/>
              <a:gd name="T26" fmla="*/ 128 w 199"/>
              <a:gd name="T27" fmla="*/ 249 h 371"/>
              <a:gd name="T28" fmla="*/ 117 w 199"/>
              <a:gd name="T29" fmla="*/ 274 h 371"/>
              <a:gd name="T30" fmla="*/ 128 w 199"/>
              <a:gd name="T31" fmla="*/ 249 h 371"/>
              <a:gd name="T32" fmla="*/ 189 w 199"/>
              <a:gd name="T33" fmla="*/ 0 h 371"/>
              <a:gd name="T34" fmla="*/ 177 w 199"/>
              <a:gd name="T35" fmla="*/ 11 h 371"/>
              <a:gd name="T36" fmla="*/ 185 w 199"/>
              <a:gd name="T37" fmla="*/ 26 h 371"/>
              <a:gd name="T38" fmla="*/ 173 w 199"/>
              <a:gd name="T39" fmla="*/ 26 h 371"/>
              <a:gd name="T40" fmla="*/ 173 w 199"/>
              <a:gd name="T41" fmla="*/ 46 h 371"/>
              <a:gd name="T42" fmla="*/ 189 w 199"/>
              <a:gd name="T43" fmla="*/ 44 h 371"/>
              <a:gd name="T44" fmla="*/ 198 w 199"/>
              <a:gd name="T45" fmla="*/ 33 h 371"/>
              <a:gd name="T46" fmla="*/ 189 w 199"/>
              <a:gd name="T47" fmla="*/ 14 h 371"/>
              <a:gd name="T48" fmla="*/ 199 w 199"/>
              <a:gd name="T49" fmla="*/ 12 h 371"/>
              <a:gd name="T50" fmla="*/ 189 w 199"/>
              <a:gd name="T51" fmla="*/ 0 h 371"/>
              <a:gd name="T52" fmla="*/ 184 w 199"/>
              <a:gd name="T53" fmla="*/ 90 h 371"/>
              <a:gd name="T54" fmla="*/ 195 w 199"/>
              <a:gd name="T55" fmla="*/ 76 h 371"/>
              <a:gd name="T56" fmla="*/ 178 w 199"/>
              <a:gd name="T57" fmla="*/ 62 h 371"/>
              <a:gd name="T58" fmla="*/ 184 w 199"/>
              <a:gd name="T59" fmla="*/ 90 h 371"/>
              <a:gd name="T60" fmla="*/ 170 w 199"/>
              <a:gd name="T61" fmla="*/ 213 h 371"/>
              <a:gd name="T62" fmla="*/ 171 w 199"/>
              <a:gd name="T63" fmla="*/ 192 h 371"/>
              <a:gd name="T64" fmla="*/ 162 w 199"/>
              <a:gd name="T65" fmla="*/ 209 h 371"/>
              <a:gd name="T66" fmla="*/ 170 w 199"/>
              <a:gd name="T67" fmla="*/ 213 h 371"/>
              <a:gd name="T68" fmla="*/ 169 w 199"/>
              <a:gd name="T69" fmla="*/ 150 h 371"/>
              <a:gd name="T70" fmla="*/ 181 w 199"/>
              <a:gd name="T71" fmla="*/ 148 h 371"/>
              <a:gd name="T72" fmla="*/ 169 w 199"/>
              <a:gd name="T73" fmla="*/ 136 h 371"/>
              <a:gd name="T74" fmla="*/ 169 w 199"/>
              <a:gd name="T75" fmla="*/ 15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9" h="371">
                <a:moveTo>
                  <a:pt x="0" y="371"/>
                </a:moveTo>
                <a:cubicBezTo>
                  <a:pt x="9" y="368"/>
                  <a:pt x="9" y="368"/>
                  <a:pt x="9" y="368"/>
                </a:cubicBezTo>
                <a:cubicBezTo>
                  <a:pt x="25" y="341"/>
                  <a:pt x="25" y="341"/>
                  <a:pt x="25" y="341"/>
                </a:cubicBezTo>
                <a:cubicBezTo>
                  <a:pt x="12" y="332"/>
                  <a:pt x="12" y="332"/>
                  <a:pt x="12" y="332"/>
                </a:cubicBezTo>
                <a:lnTo>
                  <a:pt x="0" y="371"/>
                </a:lnTo>
                <a:close/>
                <a:moveTo>
                  <a:pt x="76" y="289"/>
                </a:moveTo>
                <a:cubicBezTo>
                  <a:pt x="49" y="285"/>
                  <a:pt x="49" y="285"/>
                  <a:pt x="49" y="285"/>
                </a:cubicBezTo>
                <a:cubicBezTo>
                  <a:pt x="36" y="332"/>
                  <a:pt x="36" y="332"/>
                  <a:pt x="36" y="332"/>
                </a:cubicBezTo>
                <a:cubicBezTo>
                  <a:pt x="43" y="334"/>
                  <a:pt x="43" y="334"/>
                  <a:pt x="43" y="334"/>
                </a:cubicBezTo>
                <a:cubicBezTo>
                  <a:pt x="55" y="310"/>
                  <a:pt x="55" y="310"/>
                  <a:pt x="55" y="310"/>
                </a:cubicBezTo>
                <a:cubicBezTo>
                  <a:pt x="88" y="292"/>
                  <a:pt x="88" y="292"/>
                  <a:pt x="88" y="292"/>
                </a:cubicBezTo>
                <a:cubicBezTo>
                  <a:pt x="79" y="276"/>
                  <a:pt x="79" y="276"/>
                  <a:pt x="79" y="276"/>
                </a:cubicBezTo>
                <a:lnTo>
                  <a:pt x="76" y="289"/>
                </a:lnTo>
                <a:close/>
                <a:moveTo>
                  <a:pt x="128" y="249"/>
                </a:moveTo>
                <a:cubicBezTo>
                  <a:pt x="119" y="247"/>
                  <a:pt x="109" y="271"/>
                  <a:pt x="117" y="274"/>
                </a:cubicBezTo>
                <a:cubicBezTo>
                  <a:pt x="128" y="278"/>
                  <a:pt x="138" y="252"/>
                  <a:pt x="128" y="249"/>
                </a:cubicBezTo>
                <a:close/>
                <a:moveTo>
                  <a:pt x="189" y="0"/>
                </a:moveTo>
                <a:cubicBezTo>
                  <a:pt x="177" y="11"/>
                  <a:pt x="177" y="11"/>
                  <a:pt x="177" y="11"/>
                </a:cubicBezTo>
                <a:cubicBezTo>
                  <a:pt x="185" y="26"/>
                  <a:pt x="185" y="26"/>
                  <a:pt x="185" y="26"/>
                </a:cubicBezTo>
                <a:cubicBezTo>
                  <a:pt x="173" y="26"/>
                  <a:pt x="173" y="26"/>
                  <a:pt x="173" y="26"/>
                </a:cubicBezTo>
                <a:cubicBezTo>
                  <a:pt x="173" y="46"/>
                  <a:pt x="173" y="46"/>
                  <a:pt x="173" y="46"/>
                </a:cubicBezTo>
                <a:cubicBezTo>
                  <a:pt x="189" y="44"/>
                  <a:pt x="189" y="44"/>
                  <a:pt x="189" y="44"/>
                </a:cubicBezTo>
                <a:cubicBezTo>
                  <a:pt x="198" y="33"/>
                  <a:pt x="198" y="33"/>
                  <a:pt x="198" y="33"/>
                </a:cubicBezTo>
                <a:cubicBezTo>
                  <a:pt x="189" y="14"/>
                  <a:pt x="189" y="14"/>
                  <a:pt x="189" y="14"/>
                </a:cubicBezTo>
                <a:cubicBezTo>
                  <a:pt x="199" y="12"/>
                  <a:pt x="199" y="12"/>
                  <a:pt x="199" y="12"/>
                </a:cubicBezTo>
                <a:lnTo>
                  <a:pt x="189" y="0"/>
                </a:lnTo>
                <a:close/>
                <a:moveTo>
                  <a:pt x="184" y="90"/>
                </a:moveTo>
                <a:cubicBezTo>
                  <a:pt x="195" y="76"/>
                  <a:pt x="195" y="76"/>
                  <a:pt x="195" y="76"/>
                </a:cubicBezTo>
                <a:cubicBezTo>
                  <a:pt x="178" y="62"/>
                  <a:pt x="178" y="62"/>
                  <a:pt x="178" y="62"/>
                </a:cubicBezTo>
                <a:lnTo>
                  <a:pt x="184" y="90"/>
                </a:lnTo>
                <a:close/>
                <a:moveTo>
                  <a:pt x="170" y="213"/>
                </a:moveTo>
                <a:cubicBezTo>
                  <a:pt x="171" y="192"/>
                  <a:pt x="171" y="192"/>
                  <a:pt x="171" y="192"/>
                </a:cubicBezTo>
                <a:cubicBezTo>
                  <a:pt x="162" y="209"/>
                  <a:pt x="162" y="209"/>
                  <a:pt x="162" y="209"/>
                </a:cubicBezTo>
                <a:lnTo>
                  <a:pt x="170" y="213"/>
                </a:lnTo>
                <a:close/>
                <a:moveTo>
                  <a:pt x="169" y="150"/>
                </a:moveTo>
                <a:cubicBezTo>
                  <a:pt x="181" y="148"/>
                  <a:pt x="181" y="148"/>
                  <a:pt x="181" y="148"/>
                </a:cubicBezTo>
                <a:cubicBezTo>
                  <a:pt x="169" y="136"/>
                  <a:pt x="169" y="136"/>
                  <a:pt x="169" y="136"/>
                </a:cubicBezTo>
                <a:lnTo>
                  <a:pt x="169" y="15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3" name="Freeform 140"/>
          <p:cNvSpPr>
            <a:spLocks noChangeAspect="1" noEditPoints="1"/>
          </p:cNvSpPr>
          <p:nvPr/>
        </p:nvSpPr>
        <p:spPr bwMode="gray">
          <a:xfrm>
            <a:off x="7510463" y="2986088"/>
            <a:ext cx="255587" cy="481012"/>
          </a:xfrm>
          <a:custGeom>
            <a:avLst/>
            <a:gdLst>
              <a:gd name="T0" fmla="*/ 413 w 448"/>
              <a:gd name="T1" fmla="*/ 447 h 780"/>
              <a:gd name="T2" fmla="*/ 402 w 448"/>
              <a:gd name="T3" fmla="*/ 362 h 780"/>
              <a:gd name="T4" fmla="*/ 395 w 448"/>
              <a:gd name="T5" fmla="*/ 321 h 780"/>
              <a:gd name="T6" fmla="*/ 349 w 448"/>
              <a:gd name="T7" fmla="*/ 276 h 780"/>
              <a:gd name="T8" fmla="*/ 296 w 448"/>
              <a:gd name="T9" fmla="*/ 226 h 780"/>
              <a:gd name="T10" fmla="*/ 316 w 448"/>
              <a:gd name="T11" fmla="*/ 256 h 780"/>
              <a:gd name="T12" fmla="*/ 285 w 448"/>
              <a:gd name="T13" fmla="*/ 237 h 780"/>
              <a:gd name="T14" fmla="*/ 275 w 448"/>
              <a:gd name="T15" fmla="*/ 264 h 780"/>
              <a:gd name="T16" fmla="*/ 321 w 448"/>
              <a:gd name="T17" fmla="*/ 337 h 780"/>
              <a:gd name="T18" fmla="*/ 322 w 448"/>
              <a:gd name="T19" fmla="*/ 411 h 780"/>
              <a:gd name="T20" fmla="*/ 266 w 448"/>
              <a:gd name="T21" fmla="*/ 464 h 780"/>
              <a:gd name="T22" fmla="*/ 240 w 448"/>
              <a:gd name="T23" fmla="*/ 448 h 780"/>
              <a:gd name="T24" fmla="*/ 236 w 448"/>
              <a:gd name="T25" fmla="*/ 481 h 780"/>
              <a:gd name="T26" fmla="*/ 186 w 448"/>
              <a:gd name="T27" fmla="*/ 530 h 780"/>
              <a:gd name="T28" fmla="*/ 108 w 448"/>
              <a:gd name="T29" fmla="*/ 538 h 780"/>
              <a:gd name="T30" fmla="*/ 36 w 448"/>
              <a:gd name="T31" fmla="*/ 601 h 780"/>
              <a:gd name="T32" fmla="*/ 91 w 448"/>
              <a:gd name="T33" fmla="*/ 630 h 780"/>
              <a:gd name="T34" fmla="*/ 152 w 448"/>
              <a:gd name="T35" fmla="*/ 595 h 780"/>
              <a:gd name="T36" fmla="*/ 209 w 448"/>
              <a:gd name="T37" fmla="*/ 593 h 780"/>
              <a:gd name="T38" fmla="*/ 264 w 448"/>
              <a:gd name="T39" fmla="*/ 654 h 780"/>
              <a:gd name="T40" fmla="*/ 284 w 448"/>
              <a:gd name="T41" fmla="*/ 591 h 780"/>
              <a:gd name="T42" fmla="*/ 296 w 448"/>
              <a:gd name="T43" fmla="*/ 581 h 780"/>
              <a:gd name="T44" fmla="*/ 351 w 448"/>
              <a:gd name="T45" fmla="*/ 589 h 780"/>
              <a:gd name="T46" fmla="*/ 385 w 448"/>
              <a:gd name="T47" fmla="*/ 556 h 780"/>
              <a:gd name="T48" fmla="*/ 425 w 448"/>
              <a:gd name="T49" fmla="*/ 570 h 780"/>
              <a:gd name="T50" fmla="*/ 195 w 448"/>
              <a:gd name="T51" fmla="*/ 618 h 780"/>
              <a:gd name="T52" fmla="*/ 129 w 448"/>
              <a:gd name="T53" fmla="*/ 624 h 780"/>
              <a:gd name="T54" fmla="*/ 133 w 448"/>
              <a:gd name="T55" fmla="*/ 674 h 780"/>
              <a:gd name="T56" fmla="*/ 208 w 448"/>
              <a:gd name="T57" fmla="*/ 672 h 780"/>
              <a:gd name="T58" fmla="*/ 195 w 448"/>
              <a:gd name="T59" fmla="*/ 618 h 780"/>
              <a:gd name="T60" fmla="*/ 89 w 448"/>
              <a:gd name="T61" fmla="*/ 662 h 780"/>
              <a:gd name="T62" fmla="*/ 41 w 448"/>
              <a:gd name="T63" fmla="*/ 634 h 780"/>
              <a:gd name="T64" fmla="*/ 19 w 448"/>
              <a:gd name="T65" fmla="*/ 693 h 780"/>
              <a:gd name="T66" fmla="*/ 52 w 448"/>
              <a:gd name="T67" fmla="*/ 697 h 780"/>
              <a:gd name="T68" fmla="*/ 60 w 448"/>
              <a:gd name="T69" fmla="*/ 776 h 780"/>
              <a:gd name="T70" fmla="*/ 90 w 448"/>
              <a:gd name="T71" fmla="*/ 780 h 780"/>
              <a:gd name="T72" fmla="*/ 229 w 448"/>
              <a:gd name="T73" fmla="*/ 57 h 780"/>
              <a:gd name="T74" fmla="*/ 241 w 448"/>
              <a:gd name="T75" fmla="*/ 110 h 780"/>
              <a:gd name="T76" fmla="*/ 226 w 448"/>
              <a:gd name="T77" fmla="*/ 143 h 780"/>
              <a:gd name="T78" fmla="*/ 247 w 448"/>
              <a:gd name="T79" fmla="*/ 198 h 780"/>
              <a:gd name="T80" fmla="*/ 290 w 448"/>
              <a:gd name="T81" fmla="*/ 211 h 780"/>
              <a:gd name="T82" fmla="*/ 256 w 448"/>
              <a:gd name="T83" fmla="*/ 189 h 780"/>
              <a:gd name="T84" fmla="*/ 290 w 448"/>
              <a:gd name="T85" fmla="*/ 166 h 780"/>
              <a:gd name="T86" fmla="*/ 414 w 448"/>
              <a:gd name="T87" fmla="*/ 147 h 780"/>
              <a:gd name="T88" fmla="*/ 392 w 448"/>
              <a:gd name="T89" fmla="*/ 78 h 780"/>
              <a:gd name="T90" fmla="*/ 197 w 448"/>
              <a:gd name="T91" fmla="*/ 11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780">
                <a:moveTo>
                  <a:pt x="448" y="531"/>
                </a:moveTo>
                <a:cubicBezTo>
                  <a:pt x="448" y="531"/>
                  <a:pt x="416" y="513"/>
                  <a:pt x="417" y="499"/>
                </a:cubicBezTo>
                <a:cubicBezTo>
                  <a:pt x="418" y="485"/>
                  <a:pt x="419" y="459"/>
                  <a:pt x="413" y="447"/>
                </a:cubicBezTo>
                <a:cubicBezTo>
                  <a:pt x="407" y="435"/>
                  <a:pt x="383" y="418"/>
                  <a:pt x="386" y="401"/>
                </a:cubicBezTo>
                <a:cubicBezTo>
                  <a:pt x="389" y="384"/>
                  <a:pt x="405" y="389"/>
                  <a:pt x="405" y="389"/>
                </a:cubicBezTo>
                <a:cubicBezTo>
                  <a:pt x="402" y="362"/>
                  <a:pt x="402" y="362"/>
                  <a:pt x="402" y="362"/>
                </a:cubicBezTo>
                <a:cubicBezTo>
                  <a:pt x="394" y="356"/>
                  <a:pt x="394" y="356"/>
                  <a:pt x="394" y="356"/>
                </a:cubicBezTo>
                <a:cubicBezTo>
                  <a:pt x="404" y="349"/>
                  <a:pt x="404" y="349"/>
                  <a:pt x="404" y="349"/>
                </a:cubicBezTo>
                <a:cubicBezTo>
                  <a:pt x="404" y="349"/>
                  <a:pt x="399" y="331"/>
                  <a:pt x="395" y="321"/>
                </a:cubicBezTo>
                <a:cubicBezTo>
                  <a:pt x="391" y="311"/>
                  <a:pt x="377" y="303"/>
                  <a:pt x="377" y="303"/>
                </a:cubicBezTo>
                <a:cubicBezTo>
                  <a:pt x="373" y="290"/>
                  <a:pt x="373" y="290"/>
                  <a:pt x="373" y="290"/>
                </a:cubicBezTo>
                <a:cubicBezTo>
                  <a:pt x="373" y="290"/>
                  <a:pt x="358" y="283"/>
                  <a:pt x="349" y="276"/>
                </a:cubicBezTo>
                <a:cubicBezTo>
                  <a:pt x="340" y="269"/>
                  <a:pt x="325" y="253"/>
                  <a:pt x="325" y="244"/>
                </a:cubicBezTo>
                <a:cubicBezTo>
                  <a:pt x="325" y="235"/>
                  <a:pt x="322" y="231"/>
                  <a:pt x="322" y="231"/>
                </a:cubicBezTo>
                <a:cubicBezTo>
                  <a:pt x="322" y="231"/>
                  <a:pt x="299" y="214"/>
                  <a:pt x="296" y="226"/>
                </a:cubicBezTo>
                <a:cubicBezTo>
                  <a:pt x="293" y="238"/>
                  <a:pt x="305" y="241"/>
                  <a:pt x="305" y="241"/>
                </a:cubicBezTo>
                <a:cubicBezTo>
                  <a:pt x="312" y="237"/>
                  <a:pt x="312" y="237"/>
                  <a:pt x="312" y="237"/>
                </a:cubicBezTo>
                <a:cubicBezTo>
                  <a:pt x="312" y="237"/>
                  <a:pt x="320" y="256"/>
                  <a:pt x="316" y="256"/>
                </a:cubicBezTo>
                <a:cubicBezTo>
                  <a:pt x="312" y="256"/>
                  <a:pt x="307" y="249"/>
                  <a:pt x="307" y="249"/>
                </a:cubicBezTo>
                <a:cubicBezTo>
                  <a:pt x="298" y="258"/>
                  <a:pt x="298" y="258"/>
                  <a:pt x="298" y="258"/>
                </a:cubicBezTo>
                <a:cubicBezTo>
                  <a:pt x="285" y="237"/>
                  <a:pt x="285" y="237"/>
                  <a:pt x="285" y="237"/>
                </a:cubicBezTo>
                <a:cubicBezTo>
                  <a:pt x="273" y="237"/>
                  <a:pt x="273" y="237"/>
                  <a:pt x="273" y="237"/>
                </a:cubicBezTo>
                <a:cubicBezTo>
                  <a:pt x="287" y="261"/>
                  <a:pt x="287" y="261"/>
                  <a:pt x="287" y="261"/>
                </a:cubicBezTo>
                <a:cubicBezTo>
                  <a:pt x="275" y="264"/>
                  <a:pt x="275" y="264"/>
                  <a:pt x="275" y="264"/>
                </a:cubicBezTo>
                <a:cubicBezTo>
                  <a:pt x="294" y="296"/>
                  <a:pt x="294" y="296"/>
                  <a:pt x="294" y="296"/>
                </a:cubicBezTo>
                <a:cubicBezTo>
                  <a:pt x="287" y="304"/>
                  <a:pt x="287" y="304"/>
                  <a:pt x="287" y="304"/>
                </a:cubicBezTo>
                <a:cubicBezTo>
                  <a:pt x="287" y="304"/>
                  <a:pt x="323" y="322"/>
                  <a:pt x="321" y="337"/>
                </a:cubicBezTo>
                <a:cubicBezTo>
                  <a:pt x="319" y="352"/>
                  <a:pt x="313" y="373"/>
                  <a:pt x="313" y="373"/>
                </a:cubicBezTo>
                <a:cubicBezTo>
                  <a:pt x="311" y="391"/>
                  <a:pt x="311" y="391"/>
                  <a:pt x="311" y="391"/>
                </a:cubicBezTo>
                <a:cubicBezTo>
                  <a:pt x="311" y="391"/>
                  <a:pt x="332" y="404"/>
                  <a:pt x="322" y="411"/>
                </a:cubicBezTo>
                <a:cubicBezTo>
                  <a:pt x="312" y="418"/>
                  <a:pt x="304" y="414"/>
                  <a:pt x="304" y="414"/>
                </a:cubicBezTo>
                <a:cubicBezTo>
                  <a:pt x="304" y="414"/>
                  <a:pt x="311" y="444"/>
                  <a:pt x="300" y="450"/>
                </a:cubicBezTo>
                <a:cubicBezTo>
                  <a:pt x="289" y="456"/>
                  <a:pt x="266" y="464"/>
                  <a:pt x="266" y="464"/>
                </a:cubicBezTo>
                <a:cubicBezTo>
                  <a:pt x="266" y="473"/>
                  <a:pt x="266" y="473"/>
                  <a:pt x="266" y="473"/>
                </a:cubicBezTo>
                <a:cubicBezTo>
                  <a:pt x="266" y="473"/>
                  <a:pt x="255" y="477"/>
                  <a:pt x="246" y="467"/>
                </a:cubicBezTo>
                <a:cubicBezTo>
                  <a:pt x="237" y="457"/>
                  <a:pt x="240" y="448"/>
                  <a:pt x="240" y="448"/>
                </a:cubicBezTo>
                <a:cubicBezTo>
                  <a:pt x="243" y="435"/>
                  <a:pt x="243" y="435"/>
                  <a:pt x="243" y="435"/>
                </a:cubicBezTo>
                <a:cubicBezTo>
                  <a:pt x="243" y="435"/>
                  <a:pt x="217" y="440"/>
                  <a:pt x="221" y="450"/>
                </a:cubicBezTo>
                <a:cubicBezTo>
                  <a:pt x="225" y="460"/>
                  <a:pt x="238" y="474"/>
                  <a:pt x="236" y="481"/>
                </a:cubicBezTo>
                <a:cubicBezTo>
                  <a:pt x="234" y="488"/>
                  <a:pt x="220" y="504"/>
                  <a:pt x="224" y="514"/>
                </a:cubicBezTo>
                <a:cubicBezTo>
                  <a:pt x="228" y="524"/>
                  <a:pt x="241" y="539"/>
                  <a:pt x="231" y="540"/>
                </a:cubicBezTo>
                <a:cubicBezTo>
                  <a:pt x="221" y="541"/>
                  <a:pt x="195" y="529"/>
                  <a:pt x="186" y="530"/>
                </a:cubicBezTo>
                <a:cubicBezTo>
                  <a:pt x="177" y="531"/>
                  <a:pt x="138" y="546"/>
                  <a:pt x="135" y="546"/>
                </a:cubicBezTo>
                <a:cubicBezTo>
                  <a:pt x="132" y="546"/>
                  <a:pt x="116" y="546"/>
                  <a:pt x="116" y="546"/>
                </a:cubicBezTo>
                <a:cubicBezTo>
                  <a:pt x="108" y="538"/>
                  <a:pt x="108" y="538"/>
                  <a:pt x="108" y="538"/>
                </a:cubicBezTo>
                <a:cubicBezTo>
                  <a:pt x="86" y="555"/>
                  <a:pt x="86" y="555"/>
                  <a:pt x="86" y="555"/>
                </a:cubicBezTo>
                <a:cubicBezTo>
                  <a:pt x="86" y="555"/>
                  <a:pt x="59" y="600"/>
                  <a:pt x="55" y="600"/>
                </a:cubicBezTo>
                <a:cubicBezTo>
                  <a:pt x="51" y="600"/>
                  <a:pt x="36" y="601"/>
                  <a:pt x="36" y="601"/>
                </a:cubicBezTo>
                <a:cubicBezTo>
                  <a:pt x="36" y="601"/>
                  <a:pt x="41" y="625"/>
                  <a:pt x="48" y="625"/>
                </a:cubicBezTo>
                <a:cubicBezTo>
                  <a:pt x="55" y="625"/>
                  <a:pt x="67" y="621"/>
                  <a:pt x="67" y="621"/>
                </a:cubicBezTo>
                <a:cubicBezTo>
                  <a:pt x="67" y="621"/>
                  <a:pt x="86" y="632"/>
                  <a:pt x="91" y="630"/>
                </a:cubicBezTo>
                <a:cubicBezTo>
                  <a:pt x="96" y="628"/>
                  <a:pt x="98" y="607"/>
                  <a:pt x="98" y="607"/>
                </a:cubicBezTo>
                <a:cubicBezTo>
                  <a:pt x="113" y="615"/>
                  <a:pt x="113" y="615"/>
                  <a:pt x="113" y="615"/>
                </a:cubicBezTo>
                <a:cubicBezTo>
                  <a:pt x="113" y="615"/>
                  <a:pt x="147" y="598"/>
                  <a:pt x="152" y="595"/>
                </a:cubicBezTo>
                <a:cubicBezTo>
                  <a:pt x="157" y="592"/>
                  <a:pt x="170" y="601"/>
                  <a:pt x="178" y="600"/>
                </a:cubicBezTo>
                <a:cubicBezTo>
                  <a:pt x="186" y="599"/>
                  <a:pt x="171" y="584"/>
                  <a:pt x="188" y="584"/>
                </a:cubicBezTo>
                <a:cubicBezTo>
                  <a:pt x="205" y="584"/>
                  <a:pt x="209" y="593"/>
                  <a:pt x="209" y="593"/>
                </a:cubicBezTo>
                <a:cubicBezTo>
                  <a:pt x="209" y="593"/>
                  <a:pt x="229" y="580"/>
                  <a:pt x="233" y="588"/>
                </a:cubicBezTo>
                <a:cubicBezTo>
                  <a:pt x="237" y="596"/>
                  <a:pt x="224" y="615"/>
                  <a:pt x="224" y="615"/>
                </a:cubicBezTo>
                <a:cubicBezTo>
                  <a:pt x="224" y="615"/>
                  <a:pt x="244" y="654"/>
                  <a:pt x="264" y="654"/>
                </a:cubicBezTo>
                <a:cubicBezTo>
                  <a:pt x="284" y="654"/>
                  <a:pt x="282" y="616"/>
                  <a:pt x="282" y="616"/>
                </a:cubicBezTo>
                <a:cubicBezTo>
                  <a:pt x="304" y="612"/>
                  <a:pt x="304" y="612"/>
                  <a:pt x="304" y="612"/>
                </a:cubicBezTo>
                <a:cubicBezTo>
                  <a:pt x="304" y="612"/>
                  <a:pt x="287" y="592"/>
                  <a:pt x="284" y="591"/>
                </a:cubicBezTo>
                <a:cubicBezTo>
                  <a:pt x="281" y="590"/>
                  <a:pt x="272" y="583"/>
                  <a:pt x="272" y="583"/>
                </a:cubicBezTo>
                <a:cubicBezTo>
                  <a:pt x="283" y="568"/>
                  <a:pt x="283" y="568"/>
                  <a:pt x="283" y="568"/>
                </a:cubicBezTo>
                <a:cubicBezTo>
                  <a:pt x="292" y="567"/>
                  <a:pt x="286" y="581"/>
                  <a:pt x="296" y="581"/>
                </a:cubicBezTo>
                <a:cubicBezTo>
                  <a:pt x="306" y="581"/>
                  <a:pt x="309" y="594"/>
                  <a:pt x="309" y="594"/>
                </a:cubicBezTo>
                <a:cubicBezTo>
                  <a:pt x="321" y="585"/>
                  <a:pt x="321" y="585"/>
                  <a:pt x="321" y="585"/>
                </a:cubicBezTo>
                <a:cubicBezTo>
                  <a:pt x="321" y="585"/>
                  <a:pt x="336" y="593"/>
                  <a:pt x="351" y="589"/>
                </a:cubicBezTo>
                <a:cubicBezTo>
                  <a:pt x="366" y="585"/>
                  <a:pt x="348" y="564"/>
                  <a:pt x="365" y="566"/>
                </a:cubicBezTo>
                <a:cubicBezTo>
                  <a:pt x="382" y="568"/>
                  <a:pt x="373" y="596"/>
                  <a:pt x="384" y="590"/>
                </a:cubicBezTo>
                <a:cubicBezTo>
                  <a:pt x="395" y="584"/>
                  <a:pt x="377" y="561"/>
                  <a:pt x="385" y="556"/>
                </a:cubicBezTo>
                <a:cubicBezTo>
                  <a:pt x="393" y="551"/>
                  <a:pt x="398" y="553"/>
                  <a:pt x="398" y="553"/>
                </a:cubicBezTo>
                <a:cubicBezTo>
                  <a:pt x="398" y="553"/>
                  <a:pt x="400" y="522"/>
                  <a:pt x="412" y="534"/>
                </a:cubicBezTo>
                <a:cubicBezTo>
                  <a:pt x="424" y="546"/>
                  <a:pt x="405" y="571"/>
                  <a:pt x="425" y="570"/>
                </a:cubicBezTo>
                <a:cubicBezTo>
                  <a:pt x="445" y="569"/>
                  <a:pt x="435" y="538"/>
                  <a:pt x="435" y="538"/>
                </a:cubicBezTo>
                <a:lnTo>
                  <a:pt x="448" y="531"/>
                </a:lnTo>
                <a:close/>
                <a:moveTo>
                  <a:pt x="195" y="618"/>
                </a:moveTo>
                <a:cubicBezTo>
                  <a:pt x="195" y="618"/>
                  <a:pt x="178" y="605"/>
                  <a:pt x="169" y="606"/>
                </a:cubicBezTo>
                <a:cubicBezTo>
                  <a:pt x="149" y="608"/>
                  <a:pt x="156" y="628"/>
                  <a:pt x="156" y="628"/>
                </a:cubicBezTo>
                <a:cubicBezTo>
                  <a:pt x="156" y="628"/>
                  <a:pt x="139" y="622"/>
                  <a:pt x="129" y="624"/>
                </a:cubicBezTo>
                <a:cubicBezTo>
                  <a:pt x="119" y="626"/>
                  <a:pt x="126" y="648"/>
                  <a:pt x="126" y="648"/>
                </a:cubicBezTo>
                <a:cubicBezTo>
                  <a:pt x="114" y="659"/>
                  <a:pt x="114" y="659"/>
                  <a:pt x="114" y="659"/>
                </a:cubicBezTo>
                <a:cubicBezTo>
                  <a:pt x="114" y="659"/>
                  <a:pt x="127" y="667"/>
                  <a:pt x="133" y="674"/>
                </a:cubicBezTo>
                <a:cubicBezTo>
                  <a:pt x="139" y="681"/>
                  <a:pt x="162" y="695"/>
                  <a:pt x="162" y="695"/>
                </a:cubicBezTo>
                <a:cubicBezTo>
                  <a:pt x="162" y="695"/>
                  <a:pt x="156" y="664"/>
                  <a:pt x="171" y="654"/>
                </a:cubicBezTo>
                <a:cubicBezTo>
                  <a:pt x="186" y="644"/>
                  <a:pt x="208" y="672"/>
                  <a:pt x="208" y="672"/>
                </a:cubicBezTo>
                <a:cubicBezTo>
                  <a:pt x="208" y="672"/>
                  <a:pt x="213" y="650"/>
                  <a:pt x="215" y="638"/>
                </a:cubicBezTo>
                <a:cubicBezTo>
                  <a:pt x="217" y="626"/>
                  <a:pt x="208" y="615"/>
                  <a:pt x="208" y="615"/>
                </a:cubicBezTo>
                <a:lnTo>
                  <a:pt x="195" y="618"/>
                </a:lnTo>
                <a:close/>
                <a:moveTo>
                  <a:pt x="98" y="709"/>
                </a:moveTo>
                <a:cubicBezTo>
                  <a:pt x="98" y="698"/>
                  <a:pt x="113" y="689"/>
                  <a:pt x="113" y="689"/>
                </a:cubicBezTo>
                <a:cubicBezTo>
                  <a:pt x="112" y="677"/>
                  <a:pt x="89" y="662"/>
                  <a:pt x="89" y="662"/>
                </a:cubicBezTo>
                <a:cubicBezTo>
                  <a:pt x="89" y="662"/>
                  <a:pt x="88" y="652"/>
                  <a:pt x="81" y="649"/>
                </a:cubicBezTo>
                <a:cubicBezTo>
                  <a:pt x="74" y="646"/>
                  <a:pt x="69" y="648"/>
                  <a:pt x="69" y="648"/>
                </a:cubicBezTo>
                <a:cubicBezTo>
                  <a:pt x="69" y="648"/>
                  <a:pt x="48" y="634"/>
                  <a:pt x="41" y="634"/>
                </a:cubicBezTo>
                <a:cubicBezTo>
                  <a:pt x="34" y="634"/>
                  <a:pt x="25" y="646"/>
                  <a:pt x="25" y="646"/>
                </a:cubicBezTo>
                <a:cubicBezTo>
                  <a:pt x="0" y="660"/>
                  <a:pt x="0" y="660"/>
                  <a:pt x="0" y="660"/>
                </a:cubicBezTo>
                <a:cubicBezTo>
                  <a:pt x="19" y="693"/>
                  <a:pt x="19" y="693"/>
                  <a:pt x="19" y="693"/>
                </a:cubicBezTo>
                <a:cubicBezTo>
                  <a:pt x="31" y="687"/>
                  <a:pt x="31" y="687"/>
                  <a:pt x="31" y="687"/>
                </a:cubicBezTo>
                <a:cubicBezTo>
                  <a:pt x="31" y="687"/>
                  <a:pt x="24" y="668"/>
                  <a:pt x="32" y="672"/>
                </a:cubicBezTo>
                <a:cubicBezTo>
                  <a:pt x="40" y="676"/>
                  <a:pt x="52" y="697"/>
                  <a:pt x="52" y="697"/>
                </a:cubicBezTo>
                <a:cubicBezTo>
                  <a:pt x="51" y="722"/>
                  <a:pt x="51" y="722"/>
                  <a:pt x="51" y="722"/>
                </a:cubicBezTo>
                <a:cubicBezTo>
                  <a:pt x="39" y="727"/>
                  <a:pt x="39" y="727"/>
                  <a:pt x="39" y="727"/>
                </a:cubicBezTo>
                <a:cubicBezTo>
                  <a:pt x="39" y="727"/>
                  <a:pt x="50" y="774"/>
                  <a:pt x="60" y="776"/>
                </a:cubicBezTo>
                <a:cubicBezTo>
                  <a:pt x="70" y="778"/>
                  <a:pt x="68" y="746"/>
                  <a:pt x="68" y="746"/>
                </a:cubicBezTo>
                <a:cubicBezTo>
                  <a:pt x="89" y="753"/>
                  <a:pt x="89" y="753"/>
                  <a:pt x="89" y="753"/>
                </a:cubicBezTo>
                <a:cubicBezTo>
                  <a:pt x="89" y="753"/>
                  <a:pt x="86" y="780"/>
                  <a:pt x="90" y="780"/>
                </a:cubicBezTo>
                <a:cubicBezTo>
                  <a:pt x="94" y="780"/>
                  <a:pt x="108" y="756"/>
                  <a:pt x="108" y="756"/>
                </a:cubicBezTo>
                <a:cubicBezTo>
                  <a:pt x="108" y="756"/>
                  <a:pt x="98" y="720"/>
                  <a:pt x="98" y="709"/>
                </a:cubicBezTo>
                <a:close/>
                <a:moveTo>
                  <a:pt x="229" y="57"/>
                </a:moveTo>
                <a:cubicBezTo>
                  <a:pt x="231" y="72"/>
                  <a:pt x="231" y="72"/>
                  <a:pt x="231" y="72"/>
                </a:cubicBezTo>
                <a:cubicBezTo>
                  <a:pt x="231" y="72"/>
                  <a:pt x="248" y="83"/>
                  <a:pt x="248" y="90"/>
                </a:cubicBezTo>
                <a:cubicBezTo>
                  <a:pt x="248" y="97"/>
                  <a:pt x="241" y="110"/>
                  <a:pt x="241" y="110"/>
                </a:cubicBezTo>
                <a:cubicBezTo>
                  <a:pt x="241" y="110"/>
                  <a:pt x="259" y="132"/>
                  <a:pt x="254" y="133"/>
                </a:cubicBezTo>
                <a:cubicBezTo>
                  <a:pt x="248" y="134"/>
                  <a:pt x="216" y="125"/>
                  <a:pt x="211" y="123"/>
                </a:cubicBezTo>
                <a:cubicBezTo>
                  <a:pt x="205" y="122"/>
                  <a:pt x="226" y="143"/>
                  <a:pt x="226" y="143"/>
                </a:cubicBezTo>
                <a:cubicBezTo>
                  <a:pt x="209" y="161"/>
                  <a:pt x="209" y="161"/>
                  <a:pt x="209" y="161"/>
                </a:cubicBezTo>
                <a:cubicBezTo>
                  <a:pt x="209" y="161"/>
                  <a:pt x="215" y="173"/>
                  <a:pt x="218" y="179"/>
                </a:cubicBezTo>
                <a:cubicBezTo>
                  <a:pt x="220" y="184"/>
                  <a:pt x="247" y="198"/>
                  <a:pt x="247" y="198"/>
                </a:cubicBezTo>
                <a:cubicBezTo>
                  <a:pt x="247" y="198"/>
                  <a:pt x="238" y="231"/>
                  <a:pt x="261" y="230"/>
                </a:cubicBezTo>
                <a:cubicBezTo>
                  <a:pt x="271" y="229"/>
                  <a:pt x="255" y="211"/>
                  <a:pt x="267" y="211"/>
                </a:cubicBezTo>
                <a:cubicBezTo>
                  <a:pt x="280" y="211"/>
                  <a:pt x="290" y="211"/>
                  <a:pt x="290" y="211"/>
                </a:cubicBezTo>
                <a:cubicBezTo>
                  <a:pt x="294" y="205"/>
                  <a:pt x="294" y="205"/>
                  <a:pt x="294" y="205"/>
                </a:cubicBezTo>
                <a:cubicBezTo>
                  <a:pt x="269" y="189"/>
                  <a:pt x="269" y="189"/>
                  <a:pt x="269" y="189"/>
                </a:cubicBezTo>
                <a:cubicBezTo>
                  <a:pt x="256" y="189"/>
                  <a:pt x="256" y="189"/>
                  <a:pt x="256" y="189"/>
                </a:cubicBezTo>
                <a:cubicBezTo>
                  <a:pt x="256" y="189"/>
                  <a:pt x="222" y="176"/>
                  <a:pt x="238" y="169"/>
                </a:cubicBezTo>
                <a:cubicBezTo>
                  <a:pt x="255" y="162"/>
                  <a:pt x="266" y="179"/>
                  <a:pt x="266" y="179"/>
                </a:cubicBezTo>
                <a:cubicBezTo>
                  <a:pt x="266" y="179"/>
                  <a:pt x="280" y="168"/>
                  <a:pt x="290" y="166"/>
                </a:cubicBezTo>
                <a:cubicBezTo>
                  <a:pt x="299" y="165"/>
                  <a:pt x="370" y="202"/>
                  <a:pt x="376" y="198"/>
                </a:cubicBezTo>
                <a:cubicBezTo>
                  <a:pt x="381" y="194"/>
                  <a:pt x="362" y="155"/>
                  <a:pt x="380" y="148"/>
                </a:cubicBezTo>
                <a:cubicBezTo>
                  <a:pt x="398" y="141"/>
                  <a:pt x="396" y="157"/>
                  <a:pt x="414" y="147"/>
                </a:cubicBezTo>
                <a:cubicBezTo>
                  <a:pt x="432" y="137"/>
                  <a:pt x="435" y="130"/>
                  <a:pt x="435" y="130"/>
                </a:cubicBezTo>
                <a:cubicBezTo>
                  <a:pt x="399" y="107"/>
                  <a:pt x="399" y="107"/>
                  <a:pt x="399" y="107"/>
                </a:cubicBezTo>
                <a:cubicBezTo>
                  <a:pt x="399" y="107"/>
                  <a:pt x="399" y="83"/>
                  <a:pt x="392" y="78"/>
                </a:cubicBezTo>
                <a:cubicBezTo>
                  <a:pt x="385" y="72"/>
                  <a:pt x="380" y="96"/>
                  <a:pt x="380" y="96"/>
                </a:cubicBezTo>
                <a:cubicBezTo>
                  <a:pt x="380" y="96"/>
                  <a:pt x="312" y="80"/>
                  <a:pt x="297" y="69"/>
                </a:cubicBezTo>
                <a:cubicBezTo>
                  <a:pt x="281" y="58"/>
                  <a:pt x="207" y="0"/>
                  <a:pt x="197" y="11"/>
                </a:cubicBezTo>
                <a:cubicBezTo>
                  <a:pt x="187" y="22"/>
                  <a:pt x="229" y="57"/>
                  <a:pt x="229" y="5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4" name="Freeform 141"/>
          <p:cNvSpPr>
            <a:spLocks noChangeAspect="1" noEditPoints="1"/>
          </p:cNvSpPr>
          <p:nvPr/>
        </p:nvSpPr>
        <p:spPr bwMode="gray">
          <a:xfrm>
            <a:off x="4462463" y="2268538"/>
            <a:ext cx="261937" cy="409575"/>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5" name="Freeform 142"/>
          <p:cNvSpPr>
            <a:spLocks noChangeAspect="1" noEditPoints="1"/>
          </p:cNvSpPr>
          <p:nvPr/>
        </p:nvSpPr>
        <p:spPr bwMode="gray">
          <a:xfrm>
            <a:off x="4330700" y="1970088"/>
            <a:ext cx="514350" cy="627062"/>
          </a:xfrm>
          <a:custGeom>
            <a:avLst/>
            <a:gdLst>
              <a:gd name="T0" fmla="*/ 599 w 905"/>
              <a:gd name="T1" fmla="*/ 62 h 1010"/>
              <a:gd name="T2" fmla="*/ 653 w 905"/>
              <a:gd name="T3" fmla="*/ 17 h 1010"/>
              <a:gd name="T4" fmla="*/ 491 w 905"/>
              <a:gd name="T5" fmla="*/ 4 h 1010"/>
              <a:gd name="T6" fmla="*/ 453 w 905"/>
              <a:gd name="T7" fmla="*/ 40 h 1010"/>
              <a:gd name="T8" fmla="*/ 281 w 905"/>
              <a:gd name="T9" fmla="*/ 93 h 1010"/>
              <a:gd name="T10" fmla="*/ 302 w 905"/>
              <a:gd name="T11" fmla="*/ 106 h 1010"/>
              <a:gd name="T12" fmla="*/ 402 w 905"/>
              <a:gd name="T13" fmla="*/ 121 h 1010"/>
              <a:gd name="T14" fmla="*/ 473 w 905"/>
              <a:gd name="T15" fmla="*/ 82 h 1010"/>
              <a:gd name="T16" fmla="*/ 571 w 905"/>
              <a:gd name="T17" fmla="*/ 132 h 1010"/>
              <a:gd name="T18" fmla="*/ 550 w 905"/>
              <a:gd name="T19" fmla="*/ 71 h 1010"/>
              <a:gd name="T20" fmla="*/ 453 w 905"/>
              <a:gd name="T21" fmla="*/ 54 h 1010"/>
              <a:gd name="T22" fmla="*/ 374 w 905"/>
              <a:gd name="T23" fmla="*/ 55 h 1010"/>
              <a:gd name="T24" fmla="*/ 254 w 905"/>
              <a:gd name="T25" fmla="*/ 27 h 1010"/>
              <a:gd name="T26" fmla="*/ 901 w 905"/>
              <a:gd name="T27" fmla="*/ 448 h 1010"/>
              <a:gd name="T28" fmla="*/ 902 w 905"/>
              <a:gd name="T29" fmla="*/ 421 h 1010"/>
              <a:gd name="T30" fmla="*/ 771 w 905"/>
              <a:gd name="T31" fmla="*/ 382 h 1010"/>
              <a:gd name="T32" fmla="*/ 711 w 905"/>
              <a:gd name="T33" fmla="*/ 385 h 1010"/>
              <a:gd name="T34" fmla="*/ 635 w 905"/>
              <a:gd name="T35" fmla="*/ 432 h 1010"/>
              <a:gd name="T36" fmla="*/ 551 w 905"/>
              <a:gd name="T37" fmla="*/ 443 h 1010"/>
              <a:gd name="T38" fmla="*/ 513 w 905"/>
              <a:gd name="T39" fmla="*/ 457 h 1010"/>
              <a:gd name="T40" fmla="*/ 494 w 905"/>
              <a:gd name="T41" fmla="*/ 437 h 1010"/>
              <a:gd name="T42" fmla="*/ 438 w 905"/>
              <a:gd name="T43" fmla="*/ 483 h 1010"/>
              <a:gd name="T44" fmla="*/ 432 w 905"/>
              <a:gd name="T45" fmla="*/ 514 h 1010"/>
              <a:gd name="T46" fmla="*/ 392 w 905"/>
              <a:gd name="T47" fmla="*/ 514 h 1010"/>
              <a:gd name="T48" fmla="*/ 374 w 905"/>
              <a:gd name="T49" fmla="*/ 544 h 1010"/>
              <a:gd name="T50" fmla="*/ 337 w 905"/>
              <a:gd name="T51" fmla="*/ 563 h 1010"/>
              <a:gd name="T52" fmla="*/ 293 w 905"/>
              <a:gd name="T53" fmla="*/ 606 h 1010"/>
              <a:gd name="T54" fmla="*/ 279 w 905"/>
              <a:gd name="T55" fmla="*/ 639 h 1010"/>
              <a:gd name="T56" fmla="*/ 249 w 905"/>
              <a:gd name="T57" fmla="*/ 673 h 1010"/>
              <a:gd name="T58" fmla="*/ 207 w 905"/>
              <a:gd name="T59" fmla="*/ 695 h 1010"/>
              <a:gd name="T60" fmla="*/ 170 w 905"/>
              <a:gd name="T61" fmla="*/ 733 h 1010"/>
              <a:gd name="T62" fmla="*/ 126 w 905"/>
              <a:gd name="T63" fmla="*/ 753 h 1010"/>
              <a:gd name="T64" fmla="*/ 111 w 905"/>
              <a:gd name="T65" fmla="*/ 775 h 1010"/>
              <a:gd name="T66" fmla="*/ 85 w 905"/>
              <a:gd name="T67" fmla="*/ 794 h 1010"/>
              <a:gd name="T68" fmla="*/ 34 w 905"/>
              <a:gd name="T69" fmla="*/ 802 h 1010"/>
              <a:gd name="T70" fmla="*/ 35 w 905"/>
              <a:gd name="T71" fmla="*/ 820 h 1010"/>
              <a:gd name="T72" fmla="*/ 10 w 905"/>
              <a:gd name="T73" fmla="*/ 847 h 1010"/>
              <a:gd name="T74" fmla="*/ 89 w 905"/>
              <a:gd name="T75" fmla="*/ 845 h 1010"/>
              <a:gd name="T76" fmla="*/ 0 w 905"/>
              <a:gd name="T77" fmla="*/ 858 h 1010"/>
              <a:gd name="T78" fmla="*/ 47 w 905"/>
              <a:gd name="T79" fmla="*/ 888 h 1010"/>
              <a:gd name="T80" fmla="*/ 17 w 905"/>
              <a:gd name="T81" fmla="*/ 908 h 1010"/>
              <a:gd name="T82" fmla="*/ 42 w 905"/>
              <a:gd name="T83" fmla="*/ 939 h 1010"/>
              <a:gd name="T84" fmla="*/ 23 w 905"/>
              <a:gd name="T85" fmla="*/ 981 h 1010"/>
              <a:gd name="T86" fmla="*/ 148 w 905"/>
              <a:gd name="T87" fmla="*/ 973 h 1010"/>
              <a:gd name="T88" fmla="*/ 207 w 905"/>
              <a:gd name="T89" fmla="*/ 942 h 1010"/>
              <a:gd name="T90" fmla="*/ 254 w 905"/>
              <a:gd name="T91" fmla="*/ 921 h 1010"/>
              <a:gd name="T92" fmla="*/ 284 w 905"/>
              <a:gd name="T93" fmla="*/ 889 h 1010"/>
              <a:gd name="T94" fmla="*/ 275 w 905"/>
              <a:gd name="T95" fmla="*/ 828 h 1010"/>
              <a:gd name="T96" fmla="*/ 267 w 905"/>
              <a:gd name="T97" fmla="*/ 757 h 1010"/>
              <a:gd name="T98" fmla="*/ 301 w 905"/>
              <a:gd name="T99" fmla="*/ 707 h 1010"/>
              <a:gd name="T100" fmla="*/ 348 w 905"/>
              <a:gd name="T101" fmla="*/ 629 h 1010"/>
              <a:gd name="T102" fmla="*/ 372 w 905"/>
              <a:gd name="T103" fmla="*/ 592 h 1010"/>
              <a:gd name="T104" fmla="*/ 398 w 905"/>
              <a:gd name="T105" fmla="*/ 551 h 1010"/>
              <a:gd name="T106" fmla="*/ 468 w 905"/>
              <a:gd name="T107" fmla="*/ 498 h 1010"/>
              <a:gd name="T108" fmla="*/ 536 w 905"/>
              <a:gd name="T109" fmla="*/ 509 h 1010"/>
              <a:gd name="T110" fmla="*/ 554 w 905"/>
              <a:gd name="T111" fmla="*/ 478 h 1010"/>
              <a:gd name="T112" fmla="*/ 594 w 905"/>
              <a:gd name="T113" fmla="*/ 480 h 1010"/>
              <a:gd name="T114" fmla="*/ 661 w 905"/>
              <a:gd name="T115" fmla="*/ 492 h 1010"/>
              <a:gd name="T116" fmla="*/ 727 w 905"/>
              <a:gd name="T117" fmla="*/ 463 h 1010"/>
              <a:gd name="T118" fmla="*/ 802 w 905"/>
              <a:gd name="T119" fmla="*/ 441 h 1010"/>
              <a:gd name="T120" fmla="*/ 845 w 905"/>
              <a:gd name="T121" fmla="*/ 480 h 1010"/>
              <a:gd name="T122" fmla="*/ 905 w 905"/>
              <a:gd name="T123" fmla="*/ 448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5" h="1010">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6" name="Freeform 143"/>
          <p:cNvSpPr>
            <a:spLocks noChangeAspect="1"/>
          </p:cNvSpPr>
          <p:nvPr/>
        </p:nvSpPr>
        <p:spPr bwMode="gray">
          <a:xfrm>
            <a:off x="5308600" y="3871913"/>
            <a:ext cx="276225" cy="201612"/>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7" name="Freeform 144"/>
          <p:cNvSpPr>
            <a:spLocks noChangeAspect="1" noEditPoints="1"/>
          </p:cNvSpPr>
          <p:nvPr/>
        </p:nvSpPr>
        <p:spPr bwMode="gray">
          <a:xfrm>
            <a:off x="4381500" y="4375150"/>
            <a:ext cx="90488" cy="93663"/>
          </a:xfrm>
          <a:custGeom>
            <a:avLst/>
            <a:gdLst>
              <a:gd name="T0" fmla="*/ 151 w 157"/>
              <a:gd name="T1" fmla="*/ 111 h 153"/>
              <a:gd name="T2" fmla="*/ 154 w 157"/>
              <a:gd name="T3" fmla="*/ 88 h 153"/>
              <a:gd name="T4" fmla="*/ 90 w 157"/>
              <a:gd name="T5" fmla="*/ 88 h 153"/>
              <a:gd name="T6" fmla="*/ 84 w 157"/>
              <a:gd name="T7" fmla="*/ 82 h 153"/>
              <a:gd name="T8" fmla="*/ 78 w 157"/>
              <a:gd name="T9" fmla="*/ 85 h 153"/>
              <a:gd name="T10" fmla="*/ 77 w 157"/>
              <a:gd name="T11" fmla="*/ 111 h 153"/>
              <a:gd name="T12" fmla="*/ 58 w 157"/>
              <a:gd name="T13" fmla="*/ 139 h 153"/>
              <a:gd name="T14" fmla="*/ 75 w 157"/>
              <a:gd name="T15" fmla="*/ 149 h 153"/>
              <a:gd name="T16" fmla="*/ 83 w 157"/>
              <a:gd name="T17" fmla="*/ 147 h 153"/>
              <a:gd name="T18" fmla="*/ 85 w 157"/>
              <a:gd name="T19" fmla="*/ 153 h 153"/>
              <a:gd name="T20" fmla="*/ 152 w 157"/>
              <a:gd name="T21" fmla="*/ 151 h 153"/>
              <a:gd name="T22" fmla="*/ 157 w 157"/>
              <a:gd name="T23" fmla="*/ 115 h 153"/>
              <a:gd name="T24" fmla="*/ 151 w 157"/>
              <a:gd name="T25" fmla="*/ 111 h 153"/>
              <a:gd name="T26" fmla="*/ 41 w 157"/>
              <a:gd name="T27" fmla="*/ 5 h 153"/>
              <a:gd name="T28" fmla="*/ 26 w 157"/>
              <a:gd name="T29" fmla="*/ 35 h 153"/>
              <a:gd name="T30" fmla="*/ 41 w 157"/>
              <a:gd name="T31" fmla="*/ 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53">
                <a:moveTo>
                  <a:pt x="151" y="111"/>
                </a:moveTo>
                <a:cubicBezTo>
                  <a:pt x="154" y="88"/>
                  <a:pt x="154" y="88"/>
                  <a:pt x="154" y="88"/>
                </a:cubicBezTo>
                <a:cubicBezTo>
                  <a:pt x="90" y="88"/>
                  <a:pt x="90" y="88"/>
                  <a:pt x="90" y="88"/>
                </a:cubicBezTo>
                <a:cubicBezTo>
                  <a:pt x="84" y="82"/>
                  <a:pt x="84" y="82"/>
                  <a:pt x="84" y="82"/>
                </a:cubicBezTo>
                <a:cubicBezTo>
                  <a:pt x="78" y="85"/>
                  <a:pt x="78" y="85"/>
                  <a:pt x="78" y="85"/>
                </a:cubicBezTo>
                <a:cubicBezTo>
                  <a:pt x="78" y="85"/>
                  <a:pt x="82" y="103"/>
                  <a:pt x="77" y="111"/>
                </a:cubicBezTo>
                <a:cubicBezTo>
                  <a:pt x="72" y="119"/>
                  <a:pt x="54" y="132"/>
                  <a:pt x="58" y="139"/>
                </a:cubicBezTo>
                <a:cubicBezTo>
                  <a:pt x="61" y="145"/>
                  <a:pt x="71" y="148"/>
                  <a:pt x="75" y="149"/>
                </a:cubicBezTo>
                <a:cubicBezTo>
                  <a:pt x="83" y="147"/>
                  <a:pt x="83" y="147"/>
                  <a:pt x="83" y="147"/>
                </a:cubicBezTo>
                <a:cubicBezTo>
                  <a:pt x="85" y="153"/>
                  <a:pt x="85" y="153"/>
                  <a:pt x="85" y="153"/>
                </a:cubicBezTo>
                <a:cubicBezTo>
                  <a:pt x="85" y="153"/>
                  <a:pt x="147" y="152"/>
                  <a:pt x="152" y="151"/>
                </a:cubicBezTo>
                <a:cubicBezTo>
                  <a:pt x="157" y="150"/>
                  <a:pt x="157" y="115"/>
                  <a:pt x="157" y="115"/>
                </a:cubicBezTo>
                <a:lnTo>
                  <a:pt x="151" y="111"/>
                </a:lnTo>
                <a:close/>
                <a:moveTo>
                  <a:pt x="41" y="5"/>
                </a:moveTo>
                <a:cubicBezTo>
                  <a:pt x="33" y="0"/>
                  <a:pt x="0" y="20"/>
                  <a:pt x="26" y="35"/>
                </a:cubicBezTo>
                <a:cubicBezTo>
                  <a:pt x="38" y="41"/>
                  <a:pt x="50" y="10"/>
                  <a:pt x="41" y="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8" name="Freeform 145"/>
          <p:cNvSpPr>
            <a:spLocks noChangeAspect="1"/>
          </p:cNvSpPr>
          <p:nvPr/>
        </p:nvSpPr>
        <p:spPr bwMode="gray">
          <a:xfrm>
            <a:off x="3959225" y="3048000"/>
            <a:ext cx="309563" cy="255588"/>
          </a:xfrm>
          <a:custGeom>
            <a:avLst/>
            <a:gdLst>
              <a:gd name="T0" fmla="*/ 534 w 542"/>
              <a:gd name="T1" fmla="*/ 86 h 413"/>
              <a:gd name="T2" fmla="*/ 527 w 542"/>
              <a:gd name="T3" fmla="*/ 67 h 413"/>
              <a:gd name="T4" fmla="*/ 514 w 542"/>
              <a:gd name="T5" fmla="*/ 77 h 413"/>
              <a:gd name="T6" fmla="*/ 496 w 542"/>
              <a:gd name="T7" fmla="*/ 70 h 413"/>
              <a:gd name="T8" fmla="*/ 479 w 542"/>
              <a:gd name="T9" fmla="*/ 68 h 413"/>
              <a:gd name="T10" fmla="*/ 459 w 542"/>
              <a:gd name="T11" fmla="*/ 56 h 413"/>
              <a:gd name="T12" fmla="*/ 437 w 542"/>
              <a:gd name="T13" fmla="*/ 48 h 413"/>
              <a:gd name="T14" fmla="*/ 417 w 542"/>
              <a:gd name="T15" fmla="*/ 63 h 413"/>
              <a:gd name="T16" fmla="*/ 395 w 542"/>
              <a:gd name="T17" fmla="*/ 54 h 413"/>
              <a:gd name="T18" fmla="*/ 376 w 542"/>
              <a:gd name="T19" fmla="*/ 51 h 413"/>
              <a:gd name="T20" fmla="*/ 342 w 542"/>
              <a:gd name="T21" fmla="*/ 38 h 413"/>
              <a:gd name="T22" fmla="*/ 327 w 542"/>
              <a:gd name="T23" fmla="*/ 29 h 413"/>
              <a:gd name="T24" fmla="*/ 320 w 542"/>
              <a:gd name="T25" fmla="*/ 23 h 413"/>
              <a:gd name="T26" fmla="*/ 234 w 542"/>
              <a:gd name="T27" fmla="*/ 22 h 413"/>
              <a:gd name="T28" fmla="*/ 156 w 542"/>
              <a:gd name="T29" fmla="*/ 7 h 413"/>
              <a:gd name="T30" fmla="*/ 91 w 542"/>
              <a:gd name="T31" fmla="*/ 8 h 413"/>
              <a:gd name="T32" fmla="*/ 49 w 542"/>
              <a:gd name="T33" fmla="*/ 18 h 413"/>
              <a:gd name="T34" fmla="*/ 21 w 542"/>
              <a:gd name="T35" fmla="*/ 67 h 413"/>
              <a:gd name="T36" fmla="*/ 15 w 542"/>
              <a:gd name="T37" fmla="*/ 101 h 413"/>
              <a:gd name="T38" fmla="*/ 50 w 542"/>
              <a:gd name="T39" fmla="*/ 94 h 413"/>
              <a:gd name="T40" fmla="*/ 61 w 542"/>
              <a:gd name="T41" fmla="*/ 99 h 413"/>
              <a:gd name="T42" fmla="*/ 85 w 542"/>
              <a:gd name="T43" fmla="*/ 96 h 413"/>
              <a:gd name="T44" fmla="*/ 115 w 542"/>
              <a:gd name="T45" fmla="*/ 108 h 413"/>
              <a:gd name="T46" fmla="*/ 94 w 542"/>
              <a:gd name="T47" fmla="*/ 144 h 413"/>
              <a:gd name="T48" fmla="*/ 96 w 542"/>
              <a:gd name="T49" fmla="*/ 181 h 413"/>
              <a:gd name="T50" fmla="*/ 94 w 542"/>
              <a:gd name="T51" fmla="*/ 205 h 413"/>
              <a:gd name="T52" fmla="*/ 61 w 542"/>
              <a:gd name="T53" fmla="*/ 217 h 413"/>
              <a:gd name="T54" fmla="*/ 77 w 542"/>
              <a:gd name="T55" fmla="*/ 240 h 413"/>
              <a:gd name="T56" fmla="*/ 66 w 542"/>
              <a:gd name="T57" fmla="*/ 276 h 413"/>
              <a:gd name="T58" fmla="*/ 84 w 542"/>
              <a:gd name="T59" fmla="*/ 301 h 413"/>
              <a:gd name="T60" fmla="*/ 60 w 542"/>
              <a:gd name="T61" fmla="*/ 325 h 413"/>
              <a:gd name="T62" fmla="*/ 61 w 542"/>
              <a:gd name="T63" fmla="*/ 351 h 413"/>
              <a:gd name="T64" fmla="*/ 81 w 542"/>
              <a:gd name="T65" fmla="*/ 350 h 413"/>
              <a:gd name="T66" fmla="*/ 109 w 542"/>
              <a:gd name="T67" fmla="*/ 365 h 413"/>
              <a:gd name="T68" fmla="*/ 110 w 542"/>
              <a:gd name="T69" fmla="*/ 383 h 413"/>
              <a:gd name="T70" fmla="*/ 136 w 542"/>
              <a:gd name="T71" fmla="*/ 413 h 413"/>
              <a:gd name="T72" fmla="*/ 177 w 542"/>
              <a:gd name="T73" fmla="*/ 389 h 413"/>
              <a:gd name="T74" fmla="*/ 235 w 542"/>
              <a:gd name="T75" fmla="*/ 377 h 413"/>
              <a:gd name="T76" fmla="*/ 265 w 542"/>
              <a:gd name="T77" fmla="*/ 378 h 413"/>
              <a:gd name="T78" fmla="*/ 297 w 542"/>
              <a:gd name="T79" fmla="*/ 374 h 413"/>
              <a:gd name="T80" fmla="*/ 331 w 542"/>
              <a:gd name="T81" fmla="*/ 329 h 413"/>
              <a:gd name="T82" fmla="*/ 356 w 542"/>
              <a:gd name="T83" fmla="*/ 315 h 413"/>
              <a:gd name="T84" fmla="*/ 401 w 542"/>
              <a:gd name="T85" fmla="*/ 270 h 413"/>
              <a:gd name="T86" fmla="*/ 385 w 542"/>
              <a:gd name="T87" fmla="*/ 215 h 413"/>
              <a:gd name="T88" fmla="*/ 424 w 542"/>
              <a:gd name="T89" fmla="*/ 172 h 413"/>
              <a:gd name="T90" fmla="*/ 438 w 542"/>
              <a:gd name="T91" fmla="*/ 146 h 413"/>
              <a:gd name="T92" fmla="*/ 514 w 542"/>
              <a:gd name="T93"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2" h="413">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49" name="Freeform 146"/>
          <p:cNvSpPr>
            <a:spLocks noChangeAspect="1"/>
          </p:cNvSpPr>
          <p:nvPr/>
        </p:nvSpPr>
        <p:spPr bwMode="gray">
          <a:xfrm>
            <a:off x="3944938" y="3103563"/>
            <a:ext cx="87312" cy="171450"/>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bg1">
              <a:lumMod val="75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0" name="Freeform 147"/>
          <p:cNvSpPr>
            <a:spLocks noChangeAspect="1" noEditPoints="1"/>
          </p:cNvSpPr>
          <p:nvPr/>
        </p:nvSpPr>
        <p:spPr bwMode="gray">
          <a:xfrm>
            <a:off x="2163763" y="4325938"/>
            <a:ext cx="1058862" cy="1296987"/>
          </a:xfrm>
          <a:custGeom>
            <a:avLst/>
            <a:gdLst>
              <a:gd name="T0" fmla="*/ 1096 w 1858"/>
              <a:gd name="T1" fmla="*/ 350 h 2099"/>
              <a:gd name="T2" fmla="*/ 1201 w 1858"/>
              <a:gd name="T3" fmla="*/ 299 h 2099"/>
              <a:gd name="T4" fmla="*/ 1798 w 1858"/>
              <a:gd name="T5" fmla="*/ 554 h 2099"/>
              <a:gd name="T6" fmla="*/ 1596 w 1858"/>
              <a:gd name="T7" fmla="*/ 438 h 2099"/>
              <a:gd name="T8" fmla="*/ 1395 w 1858"/>
              <a:gd name="T9" fmla="*/ 429 h 2099"/>
              <a:gd name="T10" fmla="*/ 1378 w 1858"/>
              <a:gd name="T11" fmla="*/ 381 h 2099"/>
              <a:gd name="T12" fmla="*/ 1221 w 1858"/>
              <a:gd name="T13" fmla="*/ 322 h 2099"/>
              <a:gd name="T14" fmla="*/ 1137 w 1858"/>
              <a:gd name="T15" fmla="*/ 396 h 2099"/>
              <a:gd name="T16" fmla="*/ 1003 w 1858"/>
              <a:gd name="T17" fmla="*/ 368 h 2099"/>
              <a:gd name="T18" fmla="*/ 1136 w 1858"/>
              <a:gd name="T19" fmla="*/ 223 h 2099"/>
              <a:gd name="T20" fmla="*/ 1048 w 1858"/>
              <a:gd name="T21" fmla="*/ 66 h 2099"/>
              <a:gd name="T22" fmla="*/ 957 w 1858"/>
              <a:gd name="T23" fmla="*/ 163 h 2099"/>
              <a:gd name="T24" fmla="*/ 853 w 1858"/>
              <a:gd name="T25" fmla="*/ 157 h 2099"/>
              <a:gd name="T26" fmla="*/ 773 w 1858"/>
              <a:gd name="T27" fmla="*/ 192 h 2099"/>
              <a:gd name="T28" fmla="*/ 689 w 1858"/>
              <a:gd name="T29" fmla="*/ 210 h 2099"/>
              <a:gd name="T30" fmla="*/ 670 w 1858"/>
              <a:gd name="T31" fmla="*/ 63 h 2099"/>
              <a:gd name="T32" fmla="*/ 627 w 1858"/>
              <a:gd name="T33" fmla="*/ 26 h 2099"/>
              <a:gd name="T34" fmla="*/ 524 w 1858"/>
              <a:gd name="T35" fmla="*/ 96 h 2099"/>
              <a:gd name="T36" fmla="*/ 431 w 1858"/>
              <a:gd name="T37" fmla="*/ 52 h 2099"/>
              <a:gd name="T38" fmla="*/ 463 w 1858"/>
              <a:gd name="T39" fmla="*/ 177 h 2099"/>
              <a:gd name="T40" fmla="*/ 357 w 1858"/>
              <a:gd name="T41" fmla="*/ 246 h 2099"/>
              <a:gd name="T42" fmla="*/ 282 w 1858"/>
              <a:gd name="T43" fmla="*/ 191 h 2099"/>
              <a:gd name="T44" fmla="*/ 214 w 1858"/>
              <a:gd name="T45" fmla="*/ 228 h 2099"/>
              <a:gd name="T46" fmla="*/ 213 w 1858"/>
              <a:gd name="T47" fmla="*/ 356 h 2099"/>
              <a:gd name="T48" fmla="*/ 157 w 1858"/>
              <a:gd name="T49" fmla="*/ 506 h 2099"/>
              <a:gd name="T50" fmla="*/ 47 w 1858"/>
              <a:gd name="T51" fmla="*/ 559 h 2099"/>
              <a:gd name="T52" fmla="*/ 0 w 1858"/>
              <a:gd name="T53" fmla="*/ 691 h 2099"/>
              <a:gd name="T54" fmla="*/ 93 w 1858"/>
              <a:gd name="T55" fmla="*/ 823 h 2099"/>
              <a:gd name="T56" fmla="*/ 185 w 1858"/>
              <a:gd name="T57" fmla="*/ 881 h 2099"/>
              <a:gd name="T58" fmla="*/ 316 w 1858"/>
              <a:gd name="T59" fmla="*/ 840 h 2099"/>
              <a:gd name="T60" fmla="*/ 419 w 1858"/>
              <a:gd name="T61" fmla="*/ 837 h 2099"/>
              <a:gd name="T62" fmla="*/ 470 w 1858"/>
              <a:gd name="T63" fmla="*/ 955 h 2099"/>
              <a:gd name="T64" fmla="*/ 598 w 1858"/>
              <a:gd name="T65" fmla="*/ 1013 h 2099"/>
              <a:gd name="T66" fmla="*/ 680 w 1858"/>
              <a:gd name="T67" fmla="*/ 1116 h 2099"/>
              <a:gd name="T68" fmla="*/ 815 w 1858"/>
              <a:gd name="T69" fmla="*/ 1310 h 2099"/>
              <a:gd name="T70" fmla="*/ 820 w 1858"/>
              <a:gd name="T71" fmla="*/ 1468 h 2099"/>
              <a:gd name="T72" fmla="*/ 998 w 1858"/>
              <a:gd name="T73" fmla="*/ 1631 h 2099"/>
              <a:gd name="T74" fmla="*/ 1011 w 1858"/>
              <a:gd name="T75" fmla="*/ 1756 h 2099"/>
              <a:gd name="T76" fmla="*/ 945 w 1858"/>
              <a:gd name="T77" fmla="*/ 1842 h 2099"/>
              <a:gd name="T78" fmla="*/ 970 w 1858"/>
              <a:gd name="T79" fmla="*/ 1933 h 2099"/>
              <a:gd name="T80" fmla="*/ 1086 w 1858"/>
              <a:gd name="T81" fmla="*/ 2000 h 2099"/>
              <a:gd name="T82" fmla="*/ 1128 w 1858"/>
              <a:gd name="T83" fmla="*/ 2096 h 2099"/>
              <a:gd name="T84" fmla="*/ 1183 w 1858"/>
              <a:gd name="T85" fmla="*/ 1962 h 2099"/>
              <a:gd name="T86" fmla="*/ 1201 w 1858"/>
              <a:gd name="T87" fmla="*/ 1969 h 2099"/>
              <a:gd name="T88" fmla="*/ 1252 w 1858"/>
              <a:gd name="T89" fmla="*/ 1860 h 2099"/>
              <a:gd name="T90" fmla="*/ 1292 w 1858"/>
              <a:gd name="T91" fmla="*/ 1742 h 2099"/>
              <a:gd name="T92" fmla="*/ 1282 w 1858"/>
              <a:gd name="T93" fmla="*/ 1665 h 2099"/>
              <a:gd name="T94" fmla="*/ 1343 w 1858"/>
              <a:gd name="T95" fmla="*/ 1589 h 2099"/>
              <a:gd name="T96" fmla="*/ 1427 w 1858"/>
              <a:gd name="T97" fmla="*/ 1569 h 2099"/>
              <a:gd name="T98" fmla="*/ 1472 w 1858"/>
              <a:gd name="T99" fmla="*/ 1518 h 2099"/>
              <a:gd name="T100" fmla="*/ 1577 w 1858"/>
              <a:gd name="T101" fmla="*/ 1482 h 2099"/>
              <a:gd name="T102" fmla="*/ 1642 w 1858"/>
              <a:gd name="T103" fmla="*/ 1347 h 2099"/>
              <a:gd name="T104" fmla="*/ 1682 w 1858"/>
              <a:gd name="T105" fmla="*/ 1134 h 2099"/>
              <a:gd name="T106" fmla="*/ 1698 w 1858"/>
              <a:gd name="T107" fmla="*/ 981 h 2099"/>
              <a:gd name="T108" fmla="*/ 1816 w 1858"/>
              <a:gd name="T109" fmla="*/ 811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solidFill>
            <a:schemeClr val="accent4">
              <a:lumMod val="60000"/>
              <a:lumOff val="40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1" name="Freeform 148"/>
          <p:cNvSpPr>
            <a:spLocks noChangeAspect="1" noEditPoints="1"/>
          </p:cNvSpPr>
          <p:nvPr/>
        </p:nvSpPr>
        <p:spPr bwMode="gray">
          <a:xfrm>
            <a:off x="2289175" y="5086350"/>
            <a:ext cx="439738" cy="1249363"/>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13 w 771"/>
              <a:gd name="T17" fmla="*/ 1942 h 2022"/>
              <a:gd name="T18" fmla="*/ 378 w 771"/>
              <a:gd name="T19" fmla="*/ 1847 h 2022"/>
              <a:gd name="T20" fmla="*/ 407 w 771"/>
              <a:gd name="T21" fmla="*/ 1848 h 2022"/>
              <a:gd name="T22" fmla="*/ 303 w 771"/>
              <a:gd name="T23" fmla="*/ 1805 h 2022"/>
              <a:gd name="T24" fmla="*/ 283 w 771"/>
              <a:gd name="T25" fmla="*/ 1818 h 2022"/>
              <a:gd name="T26" fmla="*/ 250 w 771"/>
              <a:gd name="T27" fmla="*/ 1734 h 2022"/>
              <a:gd name="T28" fmla="*/ 241 w 771"/>
              <a:gd name="T29" fmla="*/ 1662 h 2022"/>
              <a:gd name="T30" fmla="*/ 217 w 771"/>
              <a:gd name="T31" fmla="*/ 1688 h 2022"/>
              <a:gd name="T32" fmla="*/ 154 w 771"/>
              <a:gd name="T33" fmla="*/ 1329 h 2022"/>
              <a:gd name="T34" fmla="*/ 476 w 771"/>
              <a:gd name="T35" fmla="*/ 1919 h 2022"/>
              <a:gd name="T36" fmla="*/ 537 w 771"/>
              <a:gd name="T37" fmla="*/ 1862 h 2022"/>
              <a:gd name="T38" fmla="*/ 406 w 771"/>
              <a:gd name="T39" fmla="*/ 1808 h 2022"/>
              <a:gd name="T40" fmla="*/ 308 w 771"/>
              <a:gd name="T41" fmla="*/ 1697 h 2022"/>
              <a:gd name="T42" fmla="*/ 315 w 771"/>
              <a:gd name="T43" fmla="*/ 1594 h 2022"/>
              <a:gd name="T44" fmla="*/ 307 w 771"/>
              <a:gd name="T45" fmla="*/ 1487 h 2022"/>
              <a:gd name="T46" fmla="*/ 241 w 771"/>
              <a:gd name="T47" fmla="*/ 1393 h 2022"/>
              <a:gd name="T48" fmla="*/ 201 w 771"/>
              <a:gd name="T49" fmla="*/ 1261 h 2022"/>
              <a:gd name="T50" fmla="*/ 181 w 771"/>
              <a:gd name="T51" fmla="*/ 1146 h 2022"/>
              <a:gd name="T52" fmla="*/ 170 w 771"/>
              <a:gd name="T53" fmla="*/ 1016 h 2022"/>
              <a:gd name="T54" fmla="*/ 167 w 771"/>
              <a:gd name="T55" fmla="*/ 869 h 2022"/>
              <a:gd name="T56" fmla="*/ 125 w 771"/>
              <a:gd name="T57" fmla="*/ 771 h 2022"/>
              <a:gd name="T58" fmla="*/ 114 w 771"/>
              <a:gd name="T59" fmla="*/ 615 h 2022"/>
              <a:gd name="T60" fmla="*/ 129 w 771"/>
              <a:gd name="T61" fmla="*/ 429 h 2022"/>
              <a:gd name="T62" fmla="*/ 142 w 771"/>
              <a:gd name="T63" fmla="*/ 257 h 2022"/>
              <a:gd name="T64" fmla="*/ 88 w 771"/>
              <a:gd name="T65" fmla="*/ 116 h 2022"/>
              <a:gd name="T66" fmla="*/ 23 w 771"/>
              <a:gd name="T67" fmla="*/ 30 h 2022"/>
              <a:gd name="T68" fmla="*/ 20 w 771"/>
              <a:gd name="T69" fmla="*/ 298 h 2022"/>
              <a:gd name="T70" fmla="*/ 51 w 771"/>
              <a:gd name="T71" fmla="*/ 492 h 2022"/>
              <a:gd name="T72" fmla="*/ 33 w 771"/>
              <a:gd name="T73" fmla="*/ 619 h 2022"/>
              <a:gd name="T74" fmla="*/ 79 w 771"/>
              <a:gd name="T75" fmla="*/ 826 h 2022"/>
              <a:gd name="T76" fmla="*/ 72 w 771"/>
              <a:gd name="T77" fmla="*/ 1004 h 2022"/>
              <a:gd name="T78" fmla="*/ 98 w 771"/>
              <a:gd name="T79" fmla="*/ 1218 h 2022"/>
              <a:gd name="T80" fmla="*/ 177 w 771"/>
              <a:gd name="T81" fmla="*/ 1290 h 2022"/>
              <a:gd name="T82" fmla="*/ 190 w 771"/>
              <a:gd name="T83" fmla="*/ 1341 h 2022"/>
              <a:gd name="T84" fmla="*/ 234 w 771"/>
              <a:gd name="T85" fmla="*/ 1433 h 2022"/>
              <a:gd name="T86" fmla="*/ 235 w 771"/>
              <a:gd name="T87" fmla="*/ 1507 h 2022"/>
              <a:gd name="T88" fmla="*/ 186 w 771"/>
              <a:gd name="T89" fmla="*/ 1512 h 2022"/>
              <a:gd name="T90" fmla="*/ 169 w 771"/>
              <a:gd name="T91" fmla="*/ 1570 h 2022"/>
              <a:gd name="T92" fmla="*/ 228 w 771"/>
              <a:gd name="T93" fmla="*/ 1608 h 2022"/>
              <a:gd name="T94" fmla="*/ 250 w 771"/>
              <a:gd name="T95" fmla="*/ 1630 h 2022"/>
              <a:gd name="T96" fmla="*/ 283 w 771"/>
              <a:gd name="T97" fmla="*/ 1701 h 2022"/>
              <a:gd name="T98" fmla="*/ 296 w 771"/>
              <a:gd name="T99" fmla="*/ 1753 h 2022"/>
              <a:gd name="T100" fmla="*/ 343 w 771"/>
              <a:gd name="T101" fmla="*/ 1795 h 2022"/>
              <a:gd name="T102" fmla="*/ 419 w 771"/>
              <a:gd name="T103" fmla="*/ 1861 h 2022"/>
              <a:gd name="T104" fmla="*/ 430 w 771"/>
              <a:gd name="T105" fmla="*/ 1892 h 2022"/>
              <a:gd name="T106" fmla="*/ 455 w 771"/>
              <a:gd name="T107" fmla="*/ 1901 h 2022"/>
              <a:gd name="T108" fmla="*/ 461 w 771"/>
              <a:gd name="T109" fmla="*/ 1945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2" name="Freeform 149"/>
          <p:cNvSpPr>
            <a:spLocks noChangeAspect="1"/>
          </p:cNvSpPr>
          <p:nvPr/>
        </p:nvSpPr>
        <p:spPr bwMode="gray">
          <a:xfrm>
            <a:off x="2648680" y="4293120"/>
            <a:ext cx="96837" cy="66675"/>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solidFill>
            <a:srgbClr val="C1C1C1"/>
          </a:solidFill>
          <a:ln w="9525">
            <a:noFill/>
            <a:round/>
            <a:headEnd/>
            <a:tailEnd/>
          </a:ln>
        </p:spPr>
        <p:txBody>
          <a:bodyPr/>
          <a:lstStyle/>
          <a:p>
            <a:pPr fontAlgn="auto">
              <a:spcBef>
                <a:spcPts val="0"/>
              </a:spcBef>
              <a:spcAft>
                <a:spcPts val="0"/>
              </a:spcAft>
              <a:defRPr/>
            </a:pPr>
            <a:endParaRPr lang="en-US" b="1" kern="0" dirty="0">
              <a:solidFill>
                <a:sysClr val="windowText" lastClr="000000"/>
              </a:solidFill>
            </a:endParaRPr>
          </a:p>
        </p:txBody>
      </p:sp>
      <p:sp>
        <p:nvSpPr>
          <p:cNvPr id="153" name="Freeform 150"/>
          <p:cNvSpPr>
            <a:spLocks noChangeAspect="1"/>
          </p:cNvSpPr>
          <p:nvPr/>
        </p:nvSpPr>
        <p:spPr bwMode="gray">
          <a:xfrm>
            <a:off x="2182813" y="3840163"/>
            <a:ext cx="74612" cy="65087"/>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5" name="Freeform 152"/>
          <p:cNvSpPr>
            <a:spLocks noChangeAspect="1" noEditPoints="1"/>
          </p:cNvSpPr>
          <p:nvPr/>
        </p:nvSpPr>
        <p:spPr bwMode="gray">
          <a:xfrm>
            <a:off x="4600575" y="5237163"/>
            <a:ext cx="433388" cy="422275"/>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6" name="Freeform 153"/>
          <p:cNvSpPr>
            <a:spLocks noChangeAspect="1" noEditPoints="1"/>
          </p:cNvSpPr>
          <p:nvPr/>
        </p:nvSpPr>
        <p:spPr bwMode="gray">
          <a:xfrm>
            <a:off x="2720690" y="3200400"/>
            <a:ext cx="2039937" cy="3657600"/>
          </a:xfrm>
          <a:custGeom>
            <a:avLst/>
            <a:gdLst>
              <a:gd name="T0" fmla="*/ 1045 w 3576"/>
              <a:gd name="T1" fmla="*/ 5868 h 5913"/>
              <a:gd name="T2" fmla="*/ 1044 w 3576"/>
              <a:gd name="T3" fmla="*/ 5885 h 5913"/>
              <a:gd name="T4" fmla="*/ 1055 w 3576"/>
              <a:gd name="T5" fmla="*/ 5908 h 5913"/>
              <a:gd name="T6" fmla="*/ 1086 w 3576"/>
              <a:gd name="T7" fmla="*/ 5874 h 5913"/>
              <a:gd name="T8" fmla="*/ 1102 w 3576"/>
              <a:gd name="T9" fmla="*/ 5865 h 5913"/>
              <a:gd name="T10" fmla="*/ 1085 w 3576"/>
              <a:gd name="T11" fmla="*/ 5913 h 5913"/>
              <a:gd name="T12" fmla="*/ 1110 w 3576"/>
              <a:gd name="T13" fmla="*/ 5896 h 5913"/>
              <a:gd name="T14" fmla="*/ 1136 w 3576"/>
              <a:gd name="T15" fmla="*/ 5867 h 5913"/>
              <a:gd name="T16" fmla="*/ 52 w 3576"/>
              <a:gd name="T17" fmla="*/ 1921 h 5913"/>
              <a:gd name="T18" fmla="*/ 60 w 3576"/>
              <a:gd name="T19" fmla="*/ 1912 h 5913"/>
              <a:gd name="T20" fmla="*/ 16 w 3576"/>
              <a:gd name="T21" fmla="*/ 1997 h 5913"/>
              <a:gd name="T22" fmla="*/ 36 w 3576"/>
              <a:gd name="T23" fmla="*/ 1984 h 5913"/>
              <a:gd name="T24" fmla="*/ 14 w 3576"/>
              <a:gd name="T25" fmla="*/ 1900 h 5913"/>
              <a:gd name="T26" fmla="*/ 20 w 3576"/>
              <a:gd name="T27" fmla="*/ 1903 h 5913"/>
              <a:gd name="T28" fmla="*/ 3521 w 3576"/>
              <a:gd name="T29" fmla="*/ 273 h 5913"/>
              <a:gd name="T30" fmla="*/ 3502 w 3576"/>
              <a:gd name="T31" fmla="*/ 244 h 5913"/>
              <a:gd name="T32" fmla="*/ 3456 w 3576"/>
              <a:gd name="T33" fmla="*/ 194 h 5913"/>
              <a:gd name="T34" fmla="*/ 3431 w 3576"/>
              <a:gd name="T35" fmla="*/ 140 h 5913"/>
              <a:gd name="T36" fmla="*/ 3390 w 3576"/>
              <a:gd name="T37" fmla="*/ 134 h 5913"/>
              <a:gd name="T38" fmla="*/ 3411 w 3576"/>
              <a:gd name="T39" fmla="*/ 113 h 5913"/>
              <a:gd name="T40" fmla="*/ 3457 w 3576"/>
              <a:gd name="T41" fmla="*/ 56 h 5913"/>
              <a:gd name="T42" fmla="*/ 3358 w 3576"/>
              <a:gd name="T43" fmla="*/ 57 h 5913"/>
              <a:gd name="T44" fmla="*/ 3372 w 3576"/>
              <a:gd name="T45" fmla="*/ 40 h 5913"/>
              <a:gd name="T46" fmla="*/ 3384 w 3576"/>
              <a:gd name="T47" fmla="*/ 3 h 5913"/>
              <a:gd name="T48" fmla="*/ 3334 w 3576"/>
              <a:gd name="T49" fmla="*/ 19 h 5913"/>
              <a:gd name="T50" fmla="*/ 3296 w 3576"/>
              <a:gd name="T51" fmla="*/ 46 h 5913"/>
              <a:gd name="T52" fmla="*/ 3311 w 3576"/>
              <a:gd name="T53" fmla="*/ 75 h 5913"/>
              <a:gd name="T54" fmla="*/ 3286 w 3576"/>
              <a:gd name="T55" fmla="*/ 98 h 5913"/>
              <a:gd name="T56" fmla="*/ 3314 w 3576"/>
              <a:gd name="T57" fmla="*/ 109 h 5913"/>
              <a:gd name="T58" fmla="*/ 3315 w 3576"/>
              <a:gd name="T59" fmla="*/ 142 h 5913"/>
              <a:gd name="T60" fmla="*/ 3330 w 3576"/>
              <a:gd name="T61" fmla="*/ 164 h 5913"/>
              <a:gd name="T62" fmla="*/ 3347 w 3576"/>
              <a:gd name="T63" fmla="*/ 198 h 5913"/>
              <a:gd name="T64" fmla="*/ 3367 w 3576"/>
              <a:gd name="T65" fmla="*/ 213 h 5913"/>
              <a:gd name="T66" fmla="*/ 3389 w 3576"/>
              <a:gd name="T67" fmla="*/ 256 h 5913"/>
              <a:gd name="T68" fmla="*/ 3324 w 3576"/>
              <a:gd name="T69" fmla="*/ 271 h 5913"/>
              <a:gd name="T70" fmla="*/ 3344 w 3576"/>
              <a:gd name="T71" fmla="*/ 295 h 5913"/>
              <a:gd name="T72" fmla="*/ 3303 w 3576"/>
              <a:gd name="T73" fmla="*/ 363 h 5913"/>
              <a:gd name="T74" fmla="*/ 3346 w 3576"/>
              <a:gd name="T75" fmla="*/ 361 h 5913"/>
              <a:gd name="T76" fmla="*/ 3401 w 3576"/>
              <a:gd name="T77" fmla="*/ 358 h 5913"/>
              <a:gd name="T78" fmla="*/ 3332 w 3576"/>
              <a:gd name="T79" fmla="*/ 390 h 5913"/>
              <a:gd name="T80" fmla="*/ 3291 w 3576"/>
              <a:gd name="T81" fmla="*/ 415 h 5913"/>
              <a:gd name="T82" fmla="*/ 3286 w 3576"/>
              <a:gd name="T83" fmla="*/ 444 h 5913"/>
              <a:gd name="T84" fmla="*/ 3346 w 3576"/>
              <a:gd name="T85" fmla="*/ 435 h 5913"/>
              <a:gd name="T86" fmla="*/ 3409 w 3576"/>
              <a:gd name="T87" fmla="*/ 415 h 5913"/>
              <a:gd name="T88" fmla="*/ 3452 w 3576"/>
              <a:gd name="T89" fmla="*/ 398 h 5913"/>
              <a:gd name="T90" fmla="*/ 3540 w 3576"/>
              <a:gd name="T91" fmla="*/ 396 h 5913"/>
              <a:gd name="T92" fmla="*/ 3539 w 3576"/>
              <a:gd name="T93" fmla="*/ 366 h 5913"/>
              <a:gd name="T94" fmla="*/ 3575 w 3576"/>
              <a:gd name="T95" fmla="*/ 310 h 5913"/>
              <a:gd name="T96" fmla="*/ 3280 w 3576"/>
              <a:gd name="T97" fmla="*/ 224 h 5913"/>
              <a:gd name="T98" fmla="*/ 3284 w 3576"/>
              <a:gd name="T99" fmla="*/ 188 h 5913"/>
              <a:gd name="T100" fmla="*/ 3242 w 3576"/>
              <a:gd name="T101" fmla="*/ 177 h 5913"/>
              <a:gd name="T102" fmla="*/ 3209 w 3576"/>
              <a:gd name="T103" fmla="*/ 197 h 5913"/>
              <a:gd name="T104" fmla="*/ 3219 w 3576"/>
              <a:gd name="T105" fmla="*/ 230 h 5913"/>
              <a:gd name="T106" fmla="*/ 3270 w 3576"/>
              <a:gd name="T107" fmla="*/ 235 h 5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6" h="5913">
                <a:moveTo>
                  <a:pt x="1086" y="5874"/>
                </a:moveTo>
                <a:cubicBezTo>
                  <a:pt x="1082" y="5866"/>
                  <a:pt x="1064" y="5868"/>
                  <a:pt x="1064" y="5868"/>
                </a:cubicBezTo>
                <a:cubicBezTo>
                  <a:pt x="1045" y="5868"/>
                  <a:pt x="1045" y="5868"/>
                  <a:pt x="1045" y="5868"/>
                </a:cubicBezTo>
                <a:cubicBezTo>
                  <a:pt x="1053" y="5877"/>
                  <a:pt x="1053" y="5877"/>
                  <a:pt x="1053" y="5877"/>
                </a:cubicBezTo>
                <a:cubicBezTo>
                  <a:pt x="1035" y="5879"/>
                  <a:pt x="1035" y="5879"/>
                  <a:pt x="1035" y="5879"/>
                </a:cubicBezTo>
                <a:cubicBezTo>
                  <a:pt x="1044" y="5885"/>
                  <a:pt x="1044" y="5885"/>
                  <a:pt x="1044" y="5885"/>
                </a:cubicBezTo>
                <a:cubicBezTo>
                  <a:pt x="1042" y="5896"/>
                  <a:pt x="1042" y="5896"/>
                  <a:pt x="1042" y="5896"/>
                </a:cubicBezTo>
                <a:cubicBezTo>
                  <a:pt x="1032" y="5907"/>
                  <a:pt x="1032" y="5907"/>
                  <a:pt x="1032" y="5907"/>
                </a:cubicBezTo>
                <a:cubicBezTo>
                  <a:pt x="1055" y="5908"/>
                  <a:pt x="1055" y="5908"/>
                  <a:pt x="1055" y="5908"/>
                </a:cubicBezTo>
                <a:cubicBezTo>
                  <a:pt x="1065" y="5900"/>
                  <a:pt x="1065" y="5900"/>
                  <a:pt x="1065" y="5900"/>
                </a:cubicBezTo>
                <a:cubicBezTo>
                  <a:pt x="1071" y="5902"/>
                  <a:pt x="1071" y="5902"/>
                  <a:pt x="1071" y="5902"/>
                </a:cubicBezTo>
                <a:cubicBezTo>
                  <a:pt x="1071" y="5902"/>
                  <a:pt x="1090" y="5882"/>
                  <a:pt x="1086" y="5874"/>
                </a:cubicBezTo>
                <a:close/>
                <a:moveTo>
                  <a:pt x="1118" y="5872"/>
                </a:moveTo>
                <a:cubicBezTo>
                  <a:pt x="1115" y="5864"/>
                  <a:pt x="1115" y="5864"/>
                  <a:pt x="1115" y="5864"/>
                </a:cubicBezTo>
                <a:cubicBezTo>
                  <a:pt x="1102" y="5865"/>
                  <a:pt x="1102" y="5865"/>
                  <a:pt x="1102" y="5865"/>
                </a:cubicBezTo>
                <a:cubicBezTo>
                  <a:pt x="1095" y="5885"/>
                  <a:pt x="1095" y="5885"/>
                  <a:pt x="1095" y="5885"/>
                </a:cubicBezTo>
                <a:cubicBezTo>
                  <a:pt x="1085" y="5894"/>
                  <a:pt x="1085" y="5894"/>
                  <a:pt x="1085" y="5894"/>
                </a:cubicBezTo>
                <a:cubicBezTo>
                  <a:pt x="1085" y="5913"/>
                  <a:pt x="1085" y="5913"/>
                  <a:pt x="1085" y="5913"/>
                </a:cubicBezTo>
                <a:cubicBezTo>
                  <a:pt x="1100" y="5912"/>
                  <a:pt x="1100" y="5912"/>
                  <a:pt x="1100" y="5912"/>
                </a:cubicBezTo>
                <a:cubicBezTo>
                  <a:pt x="1116" y="5901"/>
                  <a:pt x="1116" y="5901"/>
                  <a:pt x="1116" y="5901"/>
                </a:cubicBezTo>
                <a:cubicBezTo>
                  <a:pt x="1110" y="5896"/>
                  <a:pt x="1110" y="5896"/>
                  <a:pt x="1110" y="5896"/>
                </a:cubicBezTo>
                <a:cubicBezTo>
                  <a:pt x="1132" y="5896"/>
                  <a:pt x="1132" y="5896"/>
                  <a:pt x="1132" y="5896"/>
                </a:cubicBezTo>
                <a:cubicBezTo>
                  <a:pt x="1146" y="5875"/>
                  <a:pt x="1146" y="5875"/>
                  <a:pt x="1146" y="5875"/>
                </a:cubicBezTo>
                <a:cubicBezTo>
                  <a:pt x="1136" y="5867"/>
                  <a:pt x="1136" y="5867"/>
                  <a:pt x="1136" y="5867"/>
                </a:cubicBezTo>
                <a:lnTo>
                  <a:pt x="1118" y="5872"/>
                </a:lnTo>
                <a:close/>
                <a:moveTo>
                  <a:pt x="44" y="1912"/>
                </a:moveTo>
                <a:cubicBezTo>
                  <a:pt x="52" y="1921"/>
                  <a:pt x="52" y="1921"/>
                  <a:pt x="52" y="1921"/>
                </a:cubicBezTo>
                <a:cubicBezTo>
                  <a:pt x="68" y="1927"/>
                  <a:pt x="68" y="1927"/>
                  <a:pt x="68" y="1927"/>
                </a:cubicBezTo>
                <a:cubicBezTo>
                  <a:pt x="72" y="1921"/>
                  <a:pt x="72" y="1921"/>
                  <a:pt x="72" y="1921"/>
                </a:cubicBezTo>
                <a:cubicBezTo>
                  <a:pt x="60" y="1912"/>
                  <a:pt x="60" y="1912"/>
                  <a:pt x="60" y="1912"/>
                </a:cubicBezTo>
                <a:lnTo>
                  <a:pt x="44" y="1912"/>
                </a:lnTo>
                <a:close/>
                <a:moveTo>
                  <a:pt x="25" y="1978"/>
                </a:moveTo>
                <a:cubicBezTo>
                  <a:pt x="18" y="1979"/>
                  <a:pt x="16" y="1997"/>
                  <a:pt x="16" y="1997"/>
                </a:cubicBezTo>
                <a:cubicBezTo>
                  <a:pt x="42" y="1997"/>
                  <a:pt x="42" y="1997"/>
                  <a:pt x="42" y="1997"/>
                </a:cubicBezTo>
                <a:cubicBezTo>
                  <a:pt x="48" y="1975"/>
                  <a:pt x="48" y="1975"/>
                  <a:pt x="48" y="1975"/>
                </a:cubicBezTo>
                <a:cubicBezTo>
                  <a:pt x="36" y="1984"/>
                  <a:pt x="36" y="1984"/>
                  <a:pt x="36" y="1984"/>
                </a:cubicBezTo>
                <a:cubicBezTo>
                  <a:pt x="36" y="1984"/>
                  <a:pt x="32" y="1977"/>
                  <a:pt x="25" y="1978"/>
                </a:cubicBezTo>
                <a:close/>
                <a:moveTo>
                  <a:pt x="20" y="1903"/>
                </a:moveTo>
                <a:cubicBezTo>
                  <a:pt x="20" y="1903"/>
                  <a:pt x="17" y="1900"/>
                  <a:pt x="14" y="1900"/>
                </a:cubicBezTo>
                <a:cubicBezTo>
                  <a:pt x="11" y="1899"/>
                  <a:pt x="9" y="1911"/>
                  <a:pt x="9" y="1911"/>
                </a:cubicBezTo>
                <a:cubicBezTo>
                  <a:pt x="0" y="1930"/>
                  <a:pt x="0" y="1930"/>
                  <a:pt x="0" y="1930"/>
                </a:cubicBezTo>
                <a:cubicBezTo>
                  <a:pt x="0" y="1930"/>
                  <a:pt x="24" y="1908"/>
                  <a:pt x="20" y="1903"/>
                </a:cubicBezTo>
                <a:close/>
                <a:moveTo>
                  <a:pt x="3527" y="290"/>
                </a:moveTo>
                <a:cubicBezTo>
                  <a:pt x="3527" y="290"/>
                  <a:pt x="3522" y="304"/>
                  <a:pt x="3512" y="297"/>
                </a:cubicBezTo>
                <a:cubicBezTo>
                  <a:pt x="3502" y="289"/>
                  <a:pt x="3522" y="282"/>
                  <a:pt x="3521" y="273"/>
                </a:cubicBezTo>
                <a:cubicBezTo>
                  <a:pt x="3520" y="264"/>
                  <a:pt x="3489" y="259"/>
                  <a:pt x="3489" y="254"/>
                </a:cubicBezTo>
                <a:cubicBezTo>
                  <a:pt x="3489" y="249"/>
                  <a:pt x="3511" y="252"/>
                  <a:pt x="3511" y="252"/>
                </a:cubicBezTo>
                <a:cubicBezTo>
                  <a:pt x="3502" y="244"/>
                  <a:pt x="3502" y="244"/>
                  <a:pt x="3502" y="244"/>
                </a:cubicBezTo>
                <a:cubicBezTo>
                  <a:pt x="3502" y="244"/>
                  <a:pt x="3493" y="223"/>
                  <a:pt x="3489" y="216"/>
                </a:cubicBezTo>
                <a:cubicBezTo>
                  <a:pt x="3485" y="209"/>
                  <a:pt x="3472" y="209"/>
                  <a:pt x="3472" y="209"/>
                </a:cubicBezTo>
                <a:cubicBezTo>
                  <a:pt x="3472" y="209"/>
                  <a:pt x="3464" y="200"/>
                  <a:pt x="3456" y="194"/>
                </a:cubicBezTo>
                <a:cubicBezTo>
                  <a:pt x="3448" y="188"/>
                  <a:pt x="3454" y="156"/>
                  <a:pt x="3454" y="156"/>
                </a:cubicBezTo>
                <a:cubicBezTo>
                  <a:pt x="3446" y="156"/>
                  <a:pt x="3446" y="156"/>
                  <a:pt x="3446" y="156"/>
                </a:cubicBezTo>
                <a:cubicBezTo>
                  <a:pt x="3446" y="156"/>
                  <a:pt x="3445" y="150"/>
                  <a:pt x="3431" y="140"/>
                </a:cubicBezTo>
                <a:cubicBezTo>
                  <a:pt x="3416" y="130"/>
                  <a:pt x="3397" y="140"/>
                  <a:pt x="3389" y="141"/>
                </a:cubicBezTo>
                <a:cubicBezTo>
                  <a:pt x="3381" y="142"/>
                  <a:pt x="3372" y="130"/>
                  <a:pt x="3372" y="130"/>
                </a:cubicBezTo>
                <a:cubicBezTo>
                  <a:pt x="3372" y="130"/>
                  <a:pt x="3386" y="135"/>
                  <a:pt x="3390" y="134"/>
                </a:cubicBezTo>
                <a:cubicBezTo>
                  <a:pt x="3394" y="133"/>
                  <a:pt x="3412" y="129"/>
                  <a:pt x="3413" y="123"/>
                </a:cubicBezTo>
                <a:cubicBezTo>
                  <a:pt x="3414" y="118"/>
                  <a:pt x="3395" y="117"/>
                  <a:pt x="3395" y="117"/>
                </a:cubicBezTo>
                <a:cubicBezTo>
                  <a:pt x="3411" y="113"/>
                  <a:pt x="3411" y="113"/>
                  <a:pt x="3411" y="113"/>
                </a:cubicBezTo>
                <a:cubicBezTo>
                  <a:pt x="3411" y="113"/>
                  <a:pt x="3420" y="106"/>
                  <a:pt x="3426" y="101"/>
                </a:cubicBezTo>
                <a:cubicBezTo>
                  <a:pt x="3431" y="96"/>
                  <a:pt x="3442" y="72"/>
                  <a:pt x="3442" y="72"/>
                </a:cubicBezTo>
                <a:cubicBezTo>
                  <a:pt x="3442" y="72"/>
                  <a:pt x="3457" y="63"/>
                  <a:pt x="3457" y="56"/>
                </a:cubicBezTo>
                <a:cubicBezTo>
                  <a:pt x="3457" y="49"/>
                  <a:pt x="3403" y="54"/>
                  <a:pt x="3403" y="54"/>
                </a:cubicBezTo>
                <a:cubicBezTo>
                  <a:pt x="3403" y="54"/>
                  <a:pt x="3404" y="49"/>
                  <a:pt x="3392" y="49"/>
                </a:cubicBezTo>
                <a:cubicBezTo>
                  <a:pt x="3380" y="49"/>
                  <a:pt x="3358" y="57"/>
                  <a:pt x="3358" y="57"/>
                </a:cubicBezTo>
                <a:cubicBezTo>
                  <a:pt x="3366" y="50"/>
                  <a:pt x="3366" y="50"/>
                  <a:pt x="3366" y="50"/>
                </a:cubicBezTo>
                <a:cubicBezTo>
                  <a:pt x="3360" y="42"/>
                  <a:pt x="3360" y="42"/>
                  <a:pt x="3360" y="42"/>
                </a:cubicBezTo>
                <a:cubicBezTo>
                  <a:pt x="3372" y="40"/>
                  <a:pt x="3372" y="40"/>
                  <a:pt x="3372" y="40"/>
                </a:cubicBezTo>
                <a:cubicBezTo>
                  <a:pt x="3393" y="27"/>
                  <a:pt x="3393" y="27"/>
                  <a:pt x="3393" y="27"/>
                </a:cubicBezTo>
                <a:cubicBezTo>
                  <a:pt x="3393" y="27"/>
                  <a:pt x="3404" y="18"/>
                  <a:pt x="3405" y="7"/>
                </a:cubicBezTo>
                <a:cubicBezTo>
                  <a:pt x="3406" y="0"/>
                  <a:pt x="3392" y="2"/>
                  <a:pt x="3384" y="3"/>
                </a:cubicBezTo>
                <a:cubicBezTo>
                  <a:pt x="3376" y="4"/>
                  <a:pt x="3364" y="10"/>
                  <a:pt x="3356" y="10"/>
                </a:cubicBezTo>
                <a:cubicBezTo>
                  <a:pt x="3348" y="10"/>
                  <a:pt x="3341" y="1"/>
                  <a:pt x="3334" y="5"/>
                </a:cubicBezTo>
                <a:cubicBezTo>
                  <a:pt x="3327" y="9"/>
                  <a:pt x="3334" y="19"/>
                  <a:pt x="3334" y="19"/>
                </a:cubicBezTo>
                <a:cubicBezTo>
                  <a:pt x="3334" y="19"/>
                  <a:pt x="3327" y="20"/>
                  <a:pt x="3322" y="24"/>
                </a:cubicBezTo>
                <a:cubicBezTo>
                  <a:pt x="3317" y="28"/>
                  <a:pt x="3325" y="43"/>
                  <a:pt x="3325" y="43"/>
                </a:cubicBezTo>
                <a:cubicBezTo>
                  <a:pt x="3296" y="46"/>
                  <a:pt x="3296" y="46"/>
                  <a:pt x="3296" y="46"/>
                </a:cubicBezTo>
                <a:cubicBezTo>
                  <a:pt x="3296" y="52"/>
                  <a:pt x="3296" y="52"/>
                  <a:pt x="3296" y="52"/>
                </a:cubicBezTo>
                <a:cubicBezTo>
                  <a:pt x="3302" y="57"/>
                  <a:pt x="3302" y="57"/>
                  <a:pt x="3302" y="57"/>
                </a:cubicBezTo>
                <a:cubicBezTo>
                  <a:pt x="3311" y="75"/>
                  <a:pt x="3311" y="75"/>
                  <a:pt x="3311" y="75"/>
                </a:cubicBezTo>
                <a:cubicBezTo>
                  <a:pt x="3311" y="75"/>
                  <a:pt x="3305" y="80"/>
                  <a:pt x="3302" y="83"/>
                </a:cubicBezTo>
                <a:cubicBezTo>
                  <a:pt x="3299" y="86"/>
                  <a:pt x="3297" y="93"/>
                  <a:pt x="3297" y="93"/>
                </a:cubicBezTo>
                <a:cubicBezTo>
                  <a:pt x="3286" y="98"/>
                  <a:pt x="3286" y="98"/>
                  <a:pt x="3286" y="98"/>
                </a:cubicBezTo>
                <a:cubicBezTo>
                  <a:pt x="3286" y="98"/>
                  <a:pt x="3292" y="107"/>
                  <a:pt x="3300" y="106"/>
                </a:cubicBezTo>
                <a:cubicBezTo>
                  <a:pt x="3308" y="105"/>
                  <a:pt x="3315" y="97"/>
                  <a:pt x="3315" y="97"/>
                </a:cubicBezTo>
                <a:cubicBezTo>
                  <a:pt x="3314" y="109"/>
                  <a:pt x="3314" y="109"/>
                  <a:pt x="3314" y="109"/>
                </a:cubicBezTo>
                <a:cubicBezTo>
                  <a:pt x="3314" y="109"/>
                  <a:pt x="3301" y="115"/>
                  <a:pt x="3296" y="123"/>
                </a:cubicBezTo>
                <a:cubicBezTo>
                  <a:pt x="3291" y="132"/>
                  <a:pt x="3297" y="145"/>
                  <a:pt x="3297" y="145"/>
                </a:cubicBezTo>
                <a:cubicBezTo>
                  <a:pt x="3297" y="145"/>
                  <a:pt x="3308" y="137"/>
                  <a:pt x="3315" y="142"/>
                </a:cubicBezTo>
                <a:cubicBezTo>
                  <a:pt x="3321" y="147"/>
                  <a:pt x="3334" y="136"/>
                  <a:pt x="3334" y="136"/>
                </a:cubicBezTo>
                <a:cubicBezTo>
                  <a:pt x="3325" y="146"/>
                  <a:pt x="3325" y="146"/>
                  <a:pt x="3325" y="146"/>
                </a:cubicBezTo>
                <a:cubicBezTo>
                  <a:pt x="3330" y="164"/>
                  <a:pt x="3330" y="164"/>
                  <a:pt x="3330" y="164"/>
                </a:cubicBezTo>
                <a:cubicBezTo>
                  <a:pt x="3330" y="164"/>
                  <a:pt x="3319" y="177"/>
                  <a:pt x="3311" y="191"/>
                </a:cubicBezTo>
                <a:cubicBezTo>
                  <a:pt x="3304" y="204"/>
                  <a:pt x="3327" y="201"/>
                  <a:pt x="3327" y="201"/>
                </a:cubicBezTo>
                <a:cubicBezTo>
                  <a:pt x="3327" y="201"/>
                  <a:pt x="3340" y="195"/>
                  <a:pt x="3347" y="198"/>
                </a:cubicBezTo>
                <a:cubicBezTo>
                  <a:pt x="3354" y="201"/>
                  <a:pt x="3370" y="188"/>
                  <a:pt x="3370" y="188"/>
                </a:cubicBezTo>
                <a:cubicBezTo>
                  <a:pt x="3392" y="190"/>
                  <a:pt x="3392" y="190"/>
                  <a:pt x="3392" y="190"/>
                </a:cubicBezTo>
                <a:cubicBezTo>
                  <a:pt x="3392" y="190"/>
                  <a:pt x="3369" y="203"/>
                  <a:pt x="3367" y="213"/>
                </a:cubicBezTo>
                <a:cubicBezTo>
                  <a:pt x="3366" y="223"/>
                  <a:pt x="3396" y="230"/>
                  <a:pt x="3396" y="230"/>
                </a:cubicBezTo>
                <a:cubicBezTo>
                  <a:pt x="3397" y="244"/>
                  <a:pt x="3397" y="244"/>
                  <a:pt x="3397" y="244"/>
                </a:cubicBezTo>
                <a:cubicBezTo>
                  <a:pt x="3389" y="256"/>
                  <a:pt x="3389" y="256"/>
                  <a:pt x="3389" y="256"/>
                </a:cubicBezTo>
                <a:cubicBezTo>
                  <a:pt x="3389" y="256"/>
                  <a:pt x="3391" y="270"/>
                  <a:pt x="3388" y="274"/>
                </a:cubicBezTo>
                <a:cubicBezTo>
                  <a:pt x="3385" y="278"/>
                  <a:pt x="3343" y="272"/>
                  <a:pt x="3343" y="272"/>
                </a:cubicBezTo>
                <a:cubicBezTo>
                  <a:pt x="3343" y="272"/>
                  <a:pt x="3333" y="269"/>
                  <a:pt x="3324" y="271"/>
                </a:cubicBezTo>
                <a:cubicBezTo>
                  <a:pt x="3315" y="273"/>
                  <a:pt x="3330" y="284"/>
                  <a:pt x="3330" y="284"/>
                </a:cubicBezTo>
                <a:cubicBezTo>
                  <a:pt x="3316" y="297"/>
                  <a:pt x="3316" y="297"/>
                  <a:pt x="3316" y="297"/>
                </a:cubicBezTo>
                <a:cubicBezTo>
                  <a:pt x="3344" y="295"/>
                  <a:pt x="3344" y="295"/>
                  <a:pt x="3344" y="295"/>
                </a:cubicBezTo>
                <a:cubicBezTo>
                  <a:pt x="3344" y="295"/>
                  <a:pt x="3344" y="318"/>
                  <a:pt x="3337" y="325"/>
                </a:cubicBezTo>
                <a:cubicBezTo>
                  <a:pt x="3330" y="332"/>
                  <a:pt x="3302" y="340"/>
                  <a:pt x="3298" y="343"/>
                </a:cubicBezTo>
                <a:cubicBezTo>
                  <a:pt x="3294" y="346"/>
                  <a:pt x="3299" y="361"/>
                  <a:pt x="3303" y="363"/>
                </a:cubicBezTo>
                <a:cubicBezTo>
                  <a:pt x="3307" y="365"/>
                  <a:pt x="3325" y="351"/>
                  <a:pt x="3325" y="351"/>
                </a:cubicBezTo>
                <a:cubicBezTo>
                  <a:pt x="3325" y="351"/>
                  <a:pt x="3328" y="357"/>
                  <a:pt x="3332" y="361"/>
                </a:cubicBezTo>
                <a:cubicBezTo>
                  <a:pt x="3336" y="365"/>
                  <a:pt x="3346" y="361"/>
                  <a:pt x="3346" y="361"/>
                </a:cubicBezTo>
                <a:cubicBezTo>
                  <a:pt x="3346" y="361"/>
                  <a:pt x="3354" y="370"/>
                  <a:pt x="3362" y="371"/>
                </a:cubicBezTo>
                <a:cubicBezTo>
                  <a:pt x="3371" y="372"/>
                  <a:pt x="3378" y="367"/>
                  <a:pt x="3383" y="362"/>
                </a:cubicBezTo>
                <a:cubicBezTo>
                  <a:pt x="3388" y="357"/>
                  <a:pt x="3401" y="358"/>
                  <a:pt x="3401" y="358"/>
                </a:cubicBezTo>
                <a:cubicBezTo>
                  <a:pt x="3401" y="358"/>
                  <a:pt x="3385" y="373"/>
                  <a:pt x="3375" y="380"/>
                </a:cubicBezTo>
                <a:cubicBezTo>
                  <a:pt x="3364" y="387"/>
                  <a:pt x="3344" y="380"/>
                  <a:pt x="3337" y="380"/>
                </a:cubicBezTo>
                <a:cubicBezTo>
                  <a:pt x="3330" y="380"/>
                  <a:pt x="3332" y="390"/>
                  <a:pt x="3332" y="390"/>
                </a:cubicBezTo>
                <a:cubicBezTo>
                  <a:pt x="3332" y="390"/>
                  <a:pt x="3323" y="390"/>
                  <a:pt x="3316" y="393"/>
                </a:cubicBezTo>
                <a:cubicBezTo>
                  <a:pt x="3308" y="396"/>
                  <a:pt x="3316" y="402"/>
                  <a:pt x="3310" y="411"/>
                </a:cubicBezTo>
                <a:cubicBezTo>
                  <a:pt x="3305" y="419"/>
                  <a:pt x="3298" y="415"/>
                  <a:pt x="3291" y="415"/>
                </a:cubicBezTo>
                <a:cubicBezTo>
                  <a:pt x="3284" y="415"/>
                  <a:pt x="3287" y="425"/>
                  <a:pt x="3280" y="431"/>
                </a:cubicBezTo>
                <a:cubicBezTo>
                  <a:pt x="3273" y="437"/>
                  <a:pt x="3264" y="436"/>
                  <a:pt x="3264" y="440"/>
                </a:cubicBezTo>
                <a:cubicBezTo>
                  <a:pt x="3264" y="444"/>
                  <a:pt x="3283" y="444"/>
                  <a:pt x="3286" y="444"/>
                </a:cubicBezTo>
                <a:cubicBezTo>
                  <a:pt x="3289" y="444"/>
                  <a:pt x="3297" y="434"/>
                  <a:pt x="3303" y="429"/>
                </a:cubicBezTo>
                <a:cubicBezTo>
                  <a:pt x="3309" y="424"/>
                  <a:pt x="3319" y="425"/>
                  <a:pt x="3328" y="425"/>
                </a:cubicBezTo>
                <a:cubicBezTo>
                  <a:pt x="3337" y="425"/>
                  <a:pt x="3340" y="435"/>
                  <a:pt x="3346" y="435"/>
                </a:cubicBezTo>
                <a:cubicBezTo>
                  <a:pt x="3352" y="435"/>
                  <a:pt x="3365" y="410"/>
                  <a:pt x="3372" y="407"/>
                </a:cubicBezTo>
                <a:cubicBezTo>
                  <a:pt x="3378" y="403"/>
                  <a:pt x="3392" y="414"/>
                  <a:pt x="3392" y="414"/>
                </a:cubicBezTo>
                <a:cubicBezTo>
                  <a:pt x="3409" y="415"/>
                  <a:pt x="3409" y="415"/>
                  <a:pt x="3409" y="415"/>
                </a:cubicBezTo>
                <a:cubicBezTo>
                  <a:pt x="3429" y="407"/>
                  <a:pt x="3429" y="407"/>
                  <a:pt x="3429" y="407"/>
                </a:cubicBezTo>
                <a:cubicBezTo>
                  <a:pt x="3429" y="407"/>
                  <a:pt x="3448" y="416"/>
                  <a:pt x="3454" y="415"/>
                </a:cubicBezTo>
                <a:cubicBezTo>
                  <a:pt x="3460" y="414"/>
                  <a:pt x="3446" y="403"/>
                  <a:pt x="3452" y="398"/>
                </a:cubicBezTo>
                <a:cubicBezTo>
                  <a:pt x="3458" y="393"/>
                  <a:pt x="3467" y="408"/>
                  <a:pt x="3467" y="408"/>
                </a:cubicBezTo>
                <a:cubicBezTo>
                  <a:pt x="3474" y="403"/>
                  <a:pt x="3474" y="403"/>
                  <a:pt x="3474" y="403"/>
                </a:cubicBezTo>
                <a:cubicBezTo>
                  <a:pt x="3474" y="403"/>
                  <a:pt x="3527" y="403"/>
                  <a:pt x="3540" y="396"/>
                </a:cubicBezTo>
                <a:cubicBezTo>
                  <a:pt x="3552" y="389"/>
                  <a:pt x="3560" y="374"/>
                  <a:pt x="3560" y="374"/>
                </a:cubicBezTo>
                <a:cubicBezTo>
                  <a:pt x="3521" y="369"/>
                  <a:pt x="3521" y="369"/>
                  <a:pt x="3521" y="369"/>
                </a:cubicBezTo>
                <a:cubicBezTo>
                  <a:pt x="3539" y="366"/>
                  <a:pt x="3539" y="366"/>
                  <a:pt x="3539" y="366"/>
                </a:cubicBezTo>
                <a:cubicBezTo>
                  <a:pt x="3535" y="356"/>
                  <a:pt x="3535" y="356"/>
                  <a:pt x="3535" y="356"/>
                </a:cubicBezTo>
                <a:cubicBezTo>
                  <a:pt x="3535" y="356"/>
                  <a:pt x="3549" y="343"/>
                  <a:pt x="3556" y="342"/>
                </a:cubicBezTo>
                <a:cubicBezTo>
                  <a:pt x="3563" y="341"/>
                  <a:pt x="3574" y="330"/>
                  <a:pt x="3575" y="310"/>
                </a:cubicBezTo>
                <a:cubicBezTo>
                  <a:pt x="3576" y="289"/>
                  <a:pt x="3527" y="290"/>
                  <a:pt x="3527" y="290"/>
                </a:cubicBezTo>
                <a:close/>
                <a:moveTo>
                  <a:pt x="3275" y="233"/>
                </a:moveTo>
                <a:cubicBezTo>
                  <a:pt x="3278" y="230"/>
                  <a:pt x="3280" y="224"/>
                  <a:pt x="3280" y="224"/>
                </a:cubicBezTo>
                <a:cubicBezTo>
                  <a:pt x="3280" y="224"/>
                  <a:pt x="3285" y="231"/>
                  <a:pt x="3288" y="225"/>
                </a:cubicBezTo>
                <a:cubicBezTo>
                  <a:pt x="3291" y="219"/>
                  <a:pt x="3298" y="209"/>
                  <a:pt x="3291" y="203"/>
                </a:cubicBezTo>
                <a:cubicBezTo>
                  <a:pt x="3284" y="197"/>
                  <a:pt x="3284" y="188"/>
                  <a:pt x="3284" y="188"/>
                </a:cubicBezTo>
                <a:cubicBezTo>
                  <a:pt x="3279" y="190"/>
                  <a:pt x="3279" y="190"/>
                  <a:pt x="3279" y="190"/>
                </a:cubicBezTo>
                <a:cubicBezTo>
                  <a:pt x="3279" y="190"/>
                  <a:pt x="3274" y="178"/>
                  <a:pt x="3267" y="176"/>
                </a:cubicBezTo>
                <a:cubicBezTo>
                  <a:pt x="3260" y="174"/>
                  <a:pt x="3242" y="177"/>
                  <a:pt x="3242" y="177"/>
                </a:cubicBezTo>
                <a:cubicBezTo>
                  <a:pt x="3242" y="177"/>
                  <a:pt x="3242" y="177"/>
                  <a:pt x="3242" y="176"/>
                </a:cubicBezTo>
                <a:cubicBezTo>
                  <a:pt x="3239" y="183"/>
                  <a:pt x="3239" y="183"/>
                  <a:pt x="3239" y="183"/>
                </a:cubicBezTo>
                <a:cubicBezTo>
                  <a:pt x="3209" y="197"/>
                  <a:pt x="3209" y="197"/>
                  <a:pt x="3209" y="197"/>
                </a:cubicBezTo>
                <a:cubicBezTo>
                  <a:pt x="3210" y="207"/>
                  <a:pt x="3210" y="207"/>
                  <a:pt x="3210" y="207"/>
                </a:cubicBezTo>
                <a:cubicBezTo>
                  <a:pt x="3210" y="207"/>
                  <a:pt x="3181" y="213"/>
                  <a:pt x="3194" y="220"/>
                </a:cubicBezTo>
                <a:cubicBezTo>
                  <a:pt x="3207" y="228"/>
                  <a:pt x="3219" y="230"/>
                  <a:pt x="3219" y="230"/>
                </a:cubicBezTo>
                <a:cubicBezTo>
                  <a:pt x="3236" y="214"/>
                  <a:pt x="3236" y="214"/>
                  <a:pt x="3236" y="214"/>
                </a:cubicBezTo>
                <a:cubicBezTo>
                  <a:pt x="3248" y="230"/>
                  <a:pt x="3248" y="230"/>
                  <a:pt x="3248" y="230"/>
                </a:cubicBezTo>
                <a:cubicBezTo>
                  <a:pt x="3270" y="235"/>
                  <a:pt x="3270" y="235"/>
                  <a:pt x="3270" y="235"/>
                </a:cubicBezTo>
                <a:cubicBezTo>
                  <a:pt x="3272" y="235"/>
                  <a:pt x="3274" y="234"/>
                  <a:pt x="3275" y="233"/>
                </a:cubicBezTo>
                <a:close/>
              </a:path>
            </a:pathLst>
          </a:custGeom>
          <a:solidFill>
            <a:srgbClr val="C1C1C1"/>
          </a:solidFill>
          <a:ln w="9525">
            <a:solidFill>
              <a:schemeClr val="bg1">
                <a:lumMod val="65000"/>
              </a:schemeClr>
            </a:solid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7" name="Freeform 154"/>
          <p:cNvSpPr>
            <a:spLocks noChangeAspect="1"/>
          </p:cNvSpPr>
          <p:nvPr/>
        </p:nvSpPr>
        <p:spPr bwMode="gray">
          <a:xfrm>
            <a:off x="3960813" y="2676525"/>
            <a:ext cx="106362" cy="125413"/>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chemeClr val="accent4">
              <a:lumMod val="60000"/>
              <a:lumOff val="40000"/>
            </a:schemeClr>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8" name="Freeform 155"/>
          <p:cNvSpPr>
            <a:spLocks noChangeAspect="1" noEditPoints="1"/>
          </p:cNvSpPr>
          <p:nvPr/>
        </p:nvSpPr>
        <p:spPr bwMode="gray">
          <a:xfrm>
            <a:off x="2990850" y="1908175"/>
            <a:ext cx="1511300" cy="792163"/>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59" name="Freeform 156"/>
          <p:cNvSpPr>
            <a:spLocks noChangeAspect="1" noEditPoints="1"/>
          </p:cNvSpPr>
          <p:nvPr/>
        </p:nvSpPr>
        <p:spPr bwMode="gray">
          <a:xfrm>
            <a:off x="4689475" y="2543175"/>
            <a:ext cx="136525" cy="65088"/>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0" name="Freeform 157"/>
          <p:cNvSpPr>
            <a:spLocks noChangeAspect="1"/>
          </p:cNvSpPr>
          <p:nvPr/>
        </p:nvSpPr>
        <p:spPr bwMode="gray">
          <a:xfrm>
            <a:off x="7137400" y="4254500"/>
            <a:ext cx="265113" cy="220663"/>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1" name="Freeform 158"/>
          <p:cNvSpPr>
            <a:spLocks noChangeAspect="1" noEditPoints="1"/>
          </p:cNvSpPr>
          <p:nvPr/>
        </p:nvSpPr>
        <p:spPr bwMode="gray">
          <a:xfrm>
            <a:off x="6734175" y="4310063"/>
            <a:ext cx="1244600" cy="544512"/>
          </a:xfrm>
          <a:custGeom>
            <a:avLst/>
            <a:gdLst>
              <a:gd name="T0" fmla="*/ 507 w 2179"/>
              <a:gd name="T1" fmla="*/ 418 h 879"/>
              <a:gd name="T2" fmla="*/ 487 w 2179"/>
              <a:gd name="T3" fmla="*/ 403 h 879"/>
              <a:gd name="T4" fmla="*/ 40 w 2179"/>
              <a:gd name="T5" fmla="*/ 174 h 879"/>
              <a:gd name="T6" fmla="*/ 112 w 2179"/>
              <a:gd name="T7" fmla="*/ 221 h 879"/>
              <a:gd name="T8" fmla="*/ 1120 w 2179"/>
              <a:gd name="T9" fmla="*/ 437 h 879"/>
              <a:gd name="T10" fmla="*/ 1146 w 2179"/>
              <a:gd name="T11" fmla="*/ 606 h 879"/>
              <a:gd name="T12" fmla="*/ 1228 w 2179"/>
              <a:gd name="T13" fmla="*/ 468 h 879"/>
              <a:gd name="T14" fmla="*/ 1312 w 2179"/>
              <a:gd name="T15" fmla="*/ 622 h 879"/>
              <a:gd name="T16" fmla="*/ 1313 w 2179"/>
              <a:gd name="T17" fmla="*/ 467 h 879"/>
              <a:gd name="T18" fmla="*/ 1328 w 2179"/>
              <a:gd name="T19" fmla="*/ 323 h 879"/>
              <a:gd name="T20" fmla="*/ 1269 w 2179"/>
              <a:gd name="T21" fmla="*/ 279 h 879"/>
              <a:gd name="T22" fmla="*/ 1436 w 2179"/>
              <a:gd name="T23" fmla="*/ 220 h 879"/>
              <a:gd name="T24" fmla="*/ 1253 w 2179"/>
              <a:gd name="T25" fmla="*/ 232 h 879"/>
              <a:gd name="T26" fmla="*/ 1164 w 2179"/>
              <a:gd name="T27" fmla="*/ 335 h 879"/>
              <a:gd name="T28" fmla="*/ 1127 w 2179"/>
              <a:gd name="T29" fmla="*/ 743 h 879"/>
              <a:gd name="T30" fmla="*/ 1603 w 2179"/>
              <a:gd name="T31" fmla="*/ 288 h 879"/>
              <a:gd name="T32" fmla="*/ 1576 w 2179"/>
              <a:gd name="T33" fmla="*/ 184 h 879"/>
              <a:gd name="T34" fmla="*/ 1496 w 2179"/>
              <a:gd name="T35" fmla="*/ 464 h 879"/>
              <a:gd name="T36" fmla="*/ 1686 w 2179"/>
              <a:gd name="T37" fmla="*/ 490 h 879"/>
              <a:gd name="T38" fmla="*/ 1591 w 2179"/>
              <a:gd name="T39" fmla="*/ 497 h 879"/>
              <a:gd name="T40" fmla="*/ 1700 w 2179"/>
              <a:gd name="T41" fmla="*/ 502 h 879"/>
              <a:gd name="T42" fmla="*/ 1956 w 2179"/>
              <a:gd name="T43" fmla="*/ 428 h 879"/>
              <a:gd name="T44" fmla="*/ 1846 w 2179"/>
              <a:gd name="T45" fmla="*/ 350 h 879"/>
              <a:gd name="T46" fmla="*/ 1711 w 2179"/>
              <a:gd name="T47" fmla="*/ 364 h 879"/>
              <a:gd name="T48" fmla="*/ 1811 w 2179"/>
              <a:gd name="T49" fmla="*/ 441 h 879"/>
              <a:gd name="T50" fmla="*/ 1838 w 2179"/>
              <a:gd name="T51" fmla="*/ 471 h 879"/>
              <a:gd name="T52" fmla="*/ 1964 w 2179"/>
              <a:gd name="T53" fmla="*/ 567 h 879"/>
              <a:gd name="T54" fmla="*/ 2067 w 2179"/>
              <a:gd name="T55" fmla="*/ 705 h 879"/>
              <a:gd name="T56" fmla="*/ 2159 w 2179"/>
              <a:gd name="T57" fmla="*/ 797 h 879"/>
              <a:gd name="T58" fmla="*/ 2174 w 2179"/>
              <a:gd name="T59" fmla="*/ 652 h 879"/>
              <a:gd name="T60" fmla="*/ 228 w 2179"/>
              <a:gd name="T61" fmla="*/ 446 h 879"/>
              <a:gd name="T62" fmla="*/ 2072 w 2179"/>
              <a:gd name="T63" fmla="*/ 728 h 879"/>
              <a:gd name="T64" fmla="*/ 959 w 2179"/>
              <a:gd name="T65" fmla="*/ 747 h 879"/>
              <a:gd name="T66" fmla="*/ 499 w 2179"/>
              <a:gd name="T67" fmla="*/ 620 h 879"/>
              <a:gd name="T68" fmla="*/ 474 w 2179"/>
              <a:gd name="T69" fmla="*/ 438 h 879"/>
              <a:gd name="T70" fmla="*/ 410 w 2179"/>
              <a:gd name="T71" fmla="*/ 289 h 879"/>
              <a:gd name="T72" fmla="*/ 275 w 2179"/>
              <a:gd name="T73" fmla="*/ 190 h 879"/>
              <a:gd name="T74" fmla="*/ 139 w 2179"/>
              <a:gd name="T75" fmla="*/ 60 h 879"/>
              <a:gd name="T76" fmla="*/ 111 w 2179"/>
              <a:gd name="T77" fmla="*/ 157 h 879"/>
              <a:gd name="T78" fmla="*/ 230 w 2179"/>
              <a:gd name="T79" fmla="*/ 328 h 879"/>
              <a:gd name="T80" fmla="*/ 343 w 2179"/>
              <a:gd name="T81" fmla="*/ 501 h 879"/>
              <a:gd name="T82" fmla="*/ 475 w 2179"/>
              <a:gd name="T83" fmla="*/ 622 h 879"/>
              <a:gd name="T84" fmla="*/ 1408 w 2179"/>
              <a:gd name="T85" fmla="*/ 828 h 879"/>
              <a:gd name="T86" fmla="*/ 847 w 2179"/>
              <a:gd name="T87" fmla="*/ 700 h 879"/>
              <a:gd name="T88" fmla="*/ 648 w 2179"/>
              <a:gd name="T89" fmla="*/ 672 h 879"/>
              <a:gd name="T90" fmla="*/ 472 w 2179"/>
              <a:gd name="T91" fmla="*/ 677 h 879"/>
              <a:gd name="T92" fmla="*/ 737 w 2179"/>
              <a:gd name="T93" fmla="*/ 756 h 879"/>
              <a:gd name="T94" fmla="*/ 921 w 2179"/>
              <a:gd name="T95" fmla="*/ 753 h 879"/>
              <a:gd name="T96" fmla="*/ 1101 w 2179"/>
              <a:gd name="T97" fmla="*/ 301 h 879"/>
              <a:gd name="T98" fmla="*/ 1105 w 2179"/>
              <a:gd name="T99" fmla="*/ 199 h 879"/>
              <a:gd name="T100" fmla="*/ 1047 w 2179"/>
              <a:gd name="T101" fmla="*/ 75 h 879"/>
              <a:gd name="T102" fmla="*/ 939 w 2179"/>
              <a:gd name="T103" fmla="*/ 208 h 879"/>
              <a:gd name="T104" fmla="*/ 764 w 2179"/>
              <a:gd name="T105" fmla="*/ 251 h 879"/>
              <a:gd name="T106" fmla="*/ 666 w 2179"/>
              <a:gd name="T107" fmla="*/ 300 h 879"/>
              <a:gd name="T108" fmla="*/ 707 w 2179"/>
              <a:gd name="T109" fmla="*/ 432 h 879"/>
              <a:gd name="T110" fmla="*/ 840 w 2179"/>
              <a:gd name="T111" fmla="*/ 484 h 879"/>
              <a:gd name="T112" fmla="*/ 1148 w 2179"/>
              <a:gd name="T113" fmla="*/ 822 h 879"/>
              <a:gd name="T114" fmla="*/ 1148 w 2179"/>
              <a:gd name="T115" fmla="*/ 822 h 879"/>
              <a:gd name="T116" fmla="*/ 1158 w 2179"/>
              <a:gd name="T117" fmla="*/ 775 h 879"/>
              <a:gd name="T118" fmla="*/ 1334 w 2179"/>
              <a:gd name="T119" fmla="*/ 752 h 879"/>
              <a:gd name="T120" fmla="*/ 1042 w 2179"/>
              <a:gd name="T121" fmla="*/ 81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79" h="879">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652" y="438"/>
                </a:moveTo>
                <a:cubicBezTo>
                  <a:pt x="1674" y="429"/>
                  <a:pt x="1672" y="413"/>
                  <a:pt x="1672" y="413"/>
                </a:cubicBezTo>
                <a:cubicBezTo>
                  <a:pt x="1627" y="412"/>
                  <a:pt x="1627" y="412"/>
                  <a:pt x="1627" y="412"/>
                </a:cubicBezTo>
                <a:cubicBezTo>
                  <a:pt x="1627" y="412"/>
                  <a:pt x="1630" y="447"/>
                  <a:pt x="1652" y="438"/>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2" name="Freeform 159"/>
          <p:cNvSpPr>
            <a:spLocks noChangeAspect="1" noEditPoints="1"/>
          </p:cNvSpPr>
          <p:nvPr/>
        </p:nvSpPr>
        <p:spPr bwMode="gray">
          <a:xfrm>
            <a:off x="8202613" y="5641975"/>
            <a:ext cx="485775" cy="404813"/>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3" name="Freeform 160"/>
          <p:cNvSpPr>
            <a:spLocks noChangeAspect="1" noEditPoints="1"/>
          </p:cNvSpPr>
          <p:nvPr/>
        </p:nvSpPr>
        <p:spPr bwMode="gray">
          <a:xfrm>
            <a:off x="7107238" y="4854575"/>
            <a:ext cx="1081087" cy="1098550"/>
          </a:xfrm>
          <a:custGeom>
            <a:avLst/>
            <a:gdLst>
              <a:gd name="T0" fmla="*/ 1830 w 1898"/>
              <a:gd name="T1" fmla="*/ 698 h 1774"/>
              <a:gd name="T2" fmla="*/ 1804 w 1898"/>
              <a:gd name="T3" fmla="*/ 603 h 1774"/>
              <a:gd name="T4" fmla="*/ 1777 w 1898"/>
              <a:gd name="T5" fmla="*/ 507 h 1774"/>
              <a:gd name="T6" fmla="*/ 1662 w 1898"/>
              <a:gd name="T7" fmla="*/ 282 h 1774"/>
              <a:gd name="T8" fmla="*/ 1609 w 1898"/>
              <a:gd name="T9" fmla="*/ 191 h 1774"/>
              <a:gd name="T10" fmla="*/ 1578 w 1898"/>
              <a:gd name="T11" fmla="*/ 41 h 1774"/>
              <a:gd name="T12" fmla="*/ 1541 w 1898"/>
              <a:gd name="T13" fmla="*/ 18 h 1774"/>
              <a:gd name="T14" fmla="*/ 1490 w 1898"/>
              <a:gd name="T15" fmla="*/ 155 h 1774"/>
              <a:gd name="T16" fmla="*/ 1375 w 1898"/>
              <a:gd name="T17" fmla="*/ 381 h 1774"/>
              <a:gd name="T18" fmla="*/ 1207 w 1898"/>
              <a:gd name="T19" fmla="*/ 231 h 1774"/>
              <a:gd name="T20" fmla="*/ 1248 w 1898"/>
              <a:gd name="T21" fmla="*/ 139 h 1774"/>
              <a:gd name="T22" fmla="*/ 1231 w 1898"/>
              <a:gd name="T23" fmla="*/ 92 h 1774"/>
              <a:gd name="T24" fmla="*/ 1170 w 1898"/>
              <a:gd name="T25" fmla="*/ 75 h 1774"/>
              <a:gd name="T26" fmla="*/ 1047 w 1898"/>
              <a:gd name="T27" fmla="*/ 30 h 1774"/>
              <a:gd name="T28" fmla="*/ 1099 w 1898"/>
              <a:gd name="T29" fmla="*/ 65 h 1774"/>
              <a:gd name="T30" fmla="*/ 968 w 1898"/>
              <a:gd name="T31" fmla="*/ 161 h 1774"/>
              <a:gd name="T32" fmla="*/ 942 w 1898"/>
              <a:gd name="T33" fmla="*/ 256 h 1774"/>
              <a:gd name="T34" fmla="*/ 869 w 1898"/>
              <a:gd name="T35" fmla="*/ 256 h 1774"/>
              <a:gd name="T36" fmla="*/ 848 w 1898"/>
              <a:gd name="T37" fmla="*/ 215 h 1774"/>
              <a:gd name="T38" fmla="*/ 792 w 1898"/>
              <a:gd name="T39" fmla="*/ 176 h 1774"/>
              <a:gd name="T40" fmla="*/ 746 w 1898"/>
              <a:gd name="T41" fmla="*/ 201 h 1774"/>
              <a:gd name="T42" fmla="*/ 706 w 1898"/>
              <a:gd name="T43" fmla="*/ 237 h 1774"/>
              <a:gd name="T44" fmla="*/ 676 w 1898"/>
              <a:gd name="T45" fmla="*/ 298 h 1774"/>
              <a:gd name="T46" fmla="*/ 620 w 1898"/>
              <a:gd name="T47" fmla="*/ 337 h 1774"/>
              <a:gd name="T48" fmla="*/ 606 w 1898"/>
              <a:gd name="T49" fmla="*/ 348 h 1774"/>
              <a:gd name="T50" fmla="*/ 537 w 1898"/>
              <a:gd name="T51" fmla="*/ 360 h 1774"/>
              <a:gd name="T52" fmla="*/ 463 w 1898"/>
              <a:gd name="T53" fmla="*/ 494 h 1774"/>
              <a:gd name="T54" fmla="*/ 290 w 1898"/>
              <a:gd name="T55" fmla="*/ 529 h 1774"/>
              <a:gd name="T56" fmla="*/ 146 w 1898"/>
              <a:gd name="T57" fmla="*/ 599 h 1774"/>
              <a:gd name="T58" fmla="*/ 62 w 1898"/>
              <a:gd name="T59" fmla="*/ 690 h 1774"/>
              <a:gd name="T60" fmla="*/ 48 w 1898"/>
              <a:gd name="T61" fmla="*/ 813 h 1774"/>
              <a:gd name="T62" fmla="*/ 48 w 1898"/>
              <a:gd name="T63" fmla="*/ 907 h 1774"/>
              <a:gd name="T64" fmla="*/ 56 w 1898"/>
              <a:gd name="T65" fmla="*/ 1073 h 1774"/>
              <a:gd name="T66" fmla="*/ 4 w 1898"/>
              <a:gd name="T67" fmla="*/ 1244 h 1774"/>
              <a:gd name="T68" fmla="*/ 96 w 1898"/>
              <a:gd name="T69" fmla="*/ 1317 h 1774"/>
              <a:gd name="T70" fmla="*/ 213 w 1898"/>
              <a:gd name="T71" fmla="*/ 1281 h 1774"/>
              <a:gd name="T72" fmla="*/ 384 w 1898"/>
              <a:gd name="T73" fmla="*/ 1244 h 1774"/>
              <a:gd name="T74" fmla="*/ 535 w 1898"/>
              <a:gd name="T75" fmla="*/ 1176 h 1774"/>
              <a:gd name="T76" fmla="*/ 826 w 1898"/>
              <a:gd name="T77" fmla="*/ 1106 h 1774"/>
              <a:gd name="T78" fmla="*/ 923 w 1898"/>
              <a:gd name="T79" fmla="*/ 1167 h 1774"/>
              <a:gd name="T80" fmla="*/ 954 w 1898"/>
              <a:gd name="T81" fmla="*/ 1243 h 1774"/>
              <a:gd name="T82" fmla="*/ 970 w 1898"/>
              <a:gd name="T83" fmla="*/ 1311 h 1774"/>
              <a:gd name="T84" fmla="*/ 1060 w 1898"/>
              <a:gd name="T85" fmla="*/ 1224 h 1774"/>
              <a:gd name="T86" fmla="*/ 1093 w 1898"/>
              <a:gd name="T87" fmla="*/ 1209 h 1774"/>
              <a:gd name="T88" fmla="*/ 1047 w 1898"/>
              <a:gd name="T89" fmla="*/ 1276 h 1774"/>
              <a:gd name="T90" fmla="*/ 1090 w 1898"/>
              <a:gd name="T91" fmla="*/ 1267 h 1774"/>
              <a:gd name="T92" fmla="*/ 1115 w 1898"/>
              <a:gd name="T93" fmla="*/ 1351 h 1774"/>
              <a:gd name="T94" fmla="*/ 1154 w 1898"/>
              <a:gd name="T95" fmla="*/ 1505 h 1774"/>
              <a:gd name="T96" fmla="*/ 1319 w 1898"/>
              <a:gd name="T97" fmla="*/ 1502 h 1774"/>
              <a:gd name="T98" fmla="*/ 1354 w 1898"/>
              <a:gd name="T99" fmla="*/ 1543 h 1774"/>
              <a:gd name="T100" fmla="*/ 1462 w 1898"/>
              <a:gd name="T101" fmla="*/ 1468 h 1774"/>
              <a:gd name="T102" fmla="*/ 1590 w 1898"/>
              <a:gd name="T103" fmla="*/ 1355 h 1774"/>
              <a:gd name="T104" fmla="*/ 1709 w 1898"/>
              <a:gd name="T105" fmla="*/ 1185 h 1774"/>
              <a:gd name="T106" fmla="*/ 1871 w 1898"/>
              <a:gd name="T107" fmla="*/ 907 h 1774"/>
              <a:gd name="T108" fmla="*/ 1312 w 1898"/>
              <a:gd name="T109" fmla="*/ 1646 h 1774"/>
              <a:gd name="T110" fmla="*/ 1236 w 1898"/>
              <a:gd name="T111" fmla="*/ 1638 h 1774"/>
              <a:gd name="T112" fmla="*/ 1188 w 1898"/>
              <a:gd name="T113" fmla="*/ 1629 h 1774"/>
              <a:gd name="T114" fmla="*/ 1155 w 1898"/>
              <a:gd name="T115" fmla="*/ 1713 h 1774"/>
              <a:gd name="T116" fmla="*/ 1191 w 1898"/>
              <a:gd name="T117" fmla="*/ 1766 h 1774"/>
              <a:gd name="T118" fmla="*/ 1277 w 1898"/>
              <a:gd name="T119" fmla="*/ 1738 h 1774"/>
              <a:gd name="T120" fmla="*/ 1332 w 1898"/>
              <a:gd name="T121" fmla="*/ 1632 h 1774"/>
              <a:gd name="T122" fmla="*/ 1290 w 1898"/>
              <a:gd name="T123" fmla="*/ 16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8" h="1774">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4" name="Freeform 161"/>
          <p:cNvSpPr>
            <a:spLocks noChangeAspect="1"/>
          </p:cNvSpPr>
          <p:nvPr/>
        </p:nvSpPr>
        <p:spPr bwMode="gray">
          <a:xfrm>
            <a:off x="2144713" y="3082925"/>
            <a:ext cx="12700" cy="15875"/>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5" name="Freeform 162"/>
          <p:cNvSpPr>
            <a:spLocks noChangeAspect="1" noEditPoints="1"/>
          </p:cNvSpPr>
          <p:nvPr/>
        </p:nvSpPr>
        <p:spPr bwMode="gray">
          <a:xfrm>
            <a:off x="457200" y="2203450"/>
            <a:ext cx="2111375" cy="1463675"/>
          </a:xfrm>
          <a:custGeom>
            <a:avLst/>
            <a:gdLst>
              <a:gd name="T0" fmla="*/ 606 w 3698"/>
              <a:gd name="T1" fmla="*/ 663 h 2364"/>
              <a:gd name="T2" fmla="*/ 667 w 3698"/>
              <a:gd name="T3" fmla="*/ 640 h 2364"/>
              <a:gd name="T4" fmla="*/ 1114 w 3698"/>
              <a:gd name="T5" fmla="*/ 520 h 2364"/>
              <a:gd name="T6" fmla="*/ 1334 w 3698"/>
              <a:gd name="T7" fmla="*/ 585 h 2364"/>
              <a:gd name="T8" fmla="*/ 1428 w 3698"/>
              <a:gd name="T9" fmla="*/ 638 h 2364"/>
              <a:gd name="T10" fmla="*/ 1432 w 3698"/>
              <a:gd name="T11" fmla="*/ 724 h 2364"/>
              <a:gd name="T12" fmla="*/ 1454 w 3698"/>
              <a:gd name="T13" fmla="*/ 721 h 2364"/>
              <a:gd name="T14" fmla="*/ 1398 w 3698"/>
              <a:gd name="T15" fmla="*/ 555 h 2364"/>
              <a:gd name="T16" fmla="*/ 1261 w 3698"/>
              <a:gd name="T17" fmla="*/ 518 h 2364"/>
              <a:gd name="T18" fmla="*/ 1441 w 3698"/>
              <a:gd name="T19" fmla="*/ 18 h 2364"/>
              <a:gd name="T20" fmla="*/ 888 w 3698"/>
              <a:gd name="T21" fmla="*/ 107 h 2364"/>
              <a:gd name="T22" fmla="*/ 857 w 3698"/>
              <a:gd name="T23" fmla="*/ 232 h 2364"/>
              <a:gd name="T24" fmla="*/ 627 w 3698"/>
              <a:gd name="T25" fmla="*/ 311 h 2364"/>
              <a:gd name="T26" fmla="*/ 705 w 3698"/>
              <a:gd name="T27" fmla="*/ 361 h 2364"/>
              <a:gd name="T28" fmla="*/ 429 w 3698"/>
              <a:gd name="T29" fmla="*/ 440 h 2364"/>
              <a:gd name="T30" fmla="*/ 405 w 3698"/>
              <a:gd name="T31" fmla="*/ 498 h 2364"/>
              <a:gd name="T32" fmla="*/ 425 w 3698"/>
              <a:gd name="T33" fmla="*/ 554 h 2364"/>
              <a:gd name="T34" fmla="*/ 525 w 3698"/>
              <a:gd name="T35" fmla="*/ 572 h 2364"/>
              <a:gd name="T36" fmla="*/ 470 w 3698"/>
              <a:gd name="T37" fmla="*/ 642 h 2364"/>
              <a:gd name="T38" fmla="*/ 159 w 3698"/>
              <a:gd name="T39" fmla="*/ 754 h 2364"/>
              <a:gd name="T40" fmla="*/ 135 w 3698"/>
              <a:gd name="T41" fmla="*/ 779 h 2364"/>
              <a:gd name="T42" fmla="*/ 424 w 3698"/>
              <a:gd name="T43" fmla="*/ 697 h 2364"/>
              <a:gd name="T44" fmla="*/ 762 w 3698"/>
              <a:gd name="T45" fmla="*/ 545 h 2364"/>
              <a:gd name="T46" fmla="*/ 866 w 3698"/>
              <a:gd name="T47" fmla="*/ 518 h 2364"/>
              <a:gd name="T48" fmla="*/ 1069 w 3698"/>
              <a:gd name="T49" fmla="*/ 483 h 2364"/>
              <a:gd name="T50" fmla="*/ 3552 w 3698"/>
              <a:gd name="T51" fmla="*/ 1261 h 2364"/>
              <a:gd name="T52" fmla="*/ 3251 w 3698"/>
              <a:gd name="T53" fmla="*/ 1380 h 2364"/>
              <a:gd name="T54" fmla="*/ 3014 w 3698"/>
              <a:gd name="T55" fmla="*/ 1472 h 2364"/>
              <a:gd name="T56" fmla="*/ 2990 w 3698"/>
              <a:gd name="T57" fmla="*/ 1397 h 2364"/>
              <a:gd name="T58" fmla="*/ 2961 w 3698"/>
              <a:gd name="T59" fmla="*/ 1245 h 2364"/>
              <a:gd name="T60" fmla="*/ 2910 w 3698"/>
              <a:gd name="T61" fmla="*/ 1211 h 2364"/>
              <a:gd name="T62" fmla="*/ 2735 w 3698"/>
              <a:gd name="T63" fmla="*/ 1196 h 2364"/>
              <a:gd name="T64" fmla="*/ 2700 w 3698"/>
              <a:gd name="T65" fmla="*/ 1127 h 2364"/>
              <a:gd name="T66" fmla="*/ 1424 w 3698"/>
              <a:gd name="T67" fmla="*/ 1164 h 2364"/>
              <a:gd name="T68" fmla="*/ 1328 w 3698"/>
              <a:gd name="T69" fmla="*/ 1190 h 2364"/>
              <a:gd name="T70" fmla="*/ 1168 w 3698"/>
              <a:gd name="T71" fmla="*/ 1434 h 2364"/>
              <a:gd name="T72" fmla="*/ 1120 w 3698"/>
              <a:gd name="T73" fmla="*/ 1695 h 2364"/>
              <a:gd name="T74" fmla="*/ 1197 w 3698"/>
              <a:gd name="T75" fmla="*/ 1882 h 2364"/>
              <a:gd name="T76" fmla="*/ 1613 w 3698"/>
              <a:gd name="T77" fmla="*/ 2004 h 2364"/>
              <a:gd name="T78" fmla="*/ 1855 w 3698"/>
              <a:gd name="T79" fmla="*/ 2112 h 2364"/>
              <a:gd name="T80" fmla="*/ 1973 w 3698"/>
              <a:gd name="T81" fmla="*/ 2303 h 2364"/>
              <a:gd name="T82" fmla="*/ 2055 w 3698"/>
              <a:gd name="T83" fmla="*/ 2217 h 2364"/>
              <a:gd name="T84" fmla="*/ 2210 w 3698"/>
              <a:gd name="T85" fmla="*/ 2128 h 2364"/>
              <a:gd name="T86" fmla="*/ 2409 w 3698"/>
              <a:gd name="T87" fmla="*/ 2129 h 2364"/>
              <a:gd name="T88" fmla="*/ 2454 w 3698"/>
              <a:gd name="T89" fmla="*/ 2084 h 2364"/>
              <a:gd name="T90" fmla="*/ 2609 w 3698"/>
              <a:gd name="T91" fmla="*/ 2093 h 2364"/>
              <a:gd name="T92" fmla="*/ 2739 w 3698"/>
              <a:gd name="T93" fmla="*/ 2259 h 2364"/>
              <a:gd name="T94" fmla="*/ 2826 w 3698"/>
              <a:gd name="T95" fmla="*/ 2263 h 2364"/>
              <a:gd name="T96" fmla="*/ 2907 w 3698"/>
              <a:gd name="T97" fmla="*/ 1963 h 2364"/>
              <a:gd name="T98" fmla="*/ 3099 w 3698"/>
              <a:gd name="T99" fmla="*/ 1849 h 2364"/>
              <a:gd name="T100" fmla="*/ 3141 w 3698"/>
              <a:gd name="T101" fmla="*/ 1767 h 2364"/>
              <a:gd name="T102" fmla="*/ 3114 w 3698"/>
              <a:gd name="T103" fmla="*/ 1646 h 2364"/>
              <a:gd name="T104" fmla="*/ 3178 w 3698"/>
              <a:gd name="T105" fmla="*/ 1692 h 2364"/>
              <a:gd name="T106" fmla="*/ 3395 w 3698"/>
              <a:gd name="T107" fmla="*/ 1513 h 2364"/>
              <a:gd name="T108" fmla="*/ 3502 w 3698"/>
              <a:gd name="T109" fmla="*/ 1478 h 2364"/>
              <a:gd name="T110" fmla="*/ 3546 w 3698"/>
              <a:gd name="T111" fmla="*/ 1366 h 2364"/>
              <a:gd name="T112" fmla="*/ 3682 w 3698"/>
              <a:gd name="T113" fmla="*/ 1269 h 2364"/>
              <a:gd name="T114" fmla="*/ 2841 w 3698"/>
              <a:gd name="T115" fmla="*/ 1344 h 2364"/>
              <a:gd name="T116" fmla="*/ 2776 w 3698"/>
              <a:gd name="T117" fmla="*/ 1367 h 2364"/>
              <a:gd name="T118" fmla="*/ 2888 w 3698"/>
              <a:gd name="T119" fmla="*/ 1247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98" h="2364">
                <a:moveTo>
                  <a:pt x="78" y="777"/>
                </a:moveTo>
                <a:cubicBezTo>
                  <a:pt x="66" y="777"/>
                  <a:pt x="37" y="788"/>
                  <a:pt x="37" y="788"/>
                </a:cubicBezTo>
                <a:cubicBezTo>
                  <a:pt x="37" y="788"/>
                  <a:pt x="0" y="802"/>
                  <a:pt x="1" y="809"/>
                </a:cubicBezTo>
                <a:cubicBezTo>
                  <a:pt x="3" y="818"/>
                  <a:pt x="17" y="812"/>
                  <a:pt x="36" y="806"/>
                </a:cubicBezTo>
                <a:cubicBezTo>
                  <a:pt x="55" y="799"/>
                  <a:pt x="75" y="809"/>
                  <a:pt x="82" y="803"/>
                </a:cubicBezTo>
                <a:cubicBezTo>
                  <a:pt x="89" y="797"/>
                  <a:pt x="91" y="777"/>
                  <a:pt x="78" y="777"/>
                </a:cubicBezTo>
                <a:close/>
                <a:moveTo>
                  <a:pt x="655" y="635"/>
                </a:moveTo>
                <a:cubicBezTo>
                  <a:pt x="652" y="636"/>
                  <a:pt x="639" y="641"/>
                  <a:pt x="639" y="641"/>
                </a:cubicBezTo>
                <a:cubicBezTo>
                  <a:pt x="639" y="641"/>
                  <a:pt x="631" y="634"/>
                  <a:pt x="626" y="635"/>
                </a:cubicBezTo>
                <a:cubicBezTo>
                  <a:pt x="621" y="636"/>
                  <a:pt x="622" y="651"/>
                  <a:pt x="622" y="651"/>
                </a:cubicBezTo>
                <a:cubicBezTo>
                  <a:pt x="606" y="663"/>
                  <a:pt x="606" y="663"/>
                  <a:pt x="606" y="663"/>
                </a:cubicBezTo>
                <a:cubicBezTo>
                  <a:pt x="606" y="646"/>
                  <a:pt x="606" y="646"/>
                  <a:pt x="606" y="646"/>
                </a:cubicBezTo>
                <a:cubicBezTo>
                  <a:pt x="606" y="646"/>
                  <a:pt x="592" y="641"/>
                  <a:pt x="578" y="654"/>
                </a:cubicBezTo>
                <a:cubicBezTo>
                  <a:pt x="578" y="654"/>
                  <a:pt x="561" y="665"/>
                  <a:pt x="558" y="672"/>
                </a:cubicBezTo>
                <a:cubicBezTo>
                  <a:pt x="556" y="680"/>
                  <a:pt x="578" y="681"/>
                  <a:pt x="578" y="681"/>
                </a:cubicBezTo>
                <a:cubicBezTo>
                  <a:pt x="578" y="681"/>
                  <a:pt x="608" y="681"/>
                  <a:pt x="619" y="676"/>
                </a:cubicBezTo>
                <a:cubicBezTo>
                  <a:pt x="631" y="671"/>
                  <a:pt x="628" y="664"/>
                  <a:pt x="628" y="664"/>
                </a:cubicBezTo>
                <a:cubicBezTo>
                  <a:pt x="646" y="661"/>
                  <a:pt x="646" y="661"/>
                  <a:pt x="646" y="661"/>
                </a:cubicBezTo>
                <a:cubicBezTo>
                  <a:pt x="647" y="655"/>
                  <a:pt x="647" y="655"/>
                  <a:pt x="647" y="655"/>
                </a:cubicBezTo>
                <a:cubicBezTo>
                  <a:pt x="672" y="654"/>
                  <a:pt x="672" y="654"/>
                  <a:pt x="672" y="654"/>
                </a:cubicBezTo>
                <a:cubicBezTo>
                  <a:pt x="678" y="638"/>
                  <a:pt x="678" y="638"/>
                  <a:pt x="678" y="638"/>
                </a:cubicBezTo>
                <a:cubicBezTo>
                  <a:pt x="667" y="640"/>
                  <a:pt x="667" y="640"/>
                  <a:pt x="667" y="640"/>
                </a:cubicBezTo>
                <a:cubicBezTo>
                  <a:pt x="667" y="640"/>
                  <a:pt x="659" y="634"/>
                  <a:pt x="655" y="635"/>
                </a:cubicBezTo>
                <a:close/>
                <a:moveTo>
                  <a:pt x="700" y="609"/>
                </a:moveTo>
                <a:cubicBezTo>
                  <a:pt x="687" y="618"/>
                  <a:pt x="663" y="623"/>
                  <a:pt x="670" y="630"/>
                </a:cubicBezTo>
                <a:cubicBezTo>
                  <a:pt x="681" y="641"/>
                  <a:pt x="706" y="629"/>
                  <a:pt x="706" y="629"/>
                </a:cubicBezTo>
                <a:cubicBezTo>
                  <a:pt x="713" y="620"/>
                  <a:pt x="713" y="620"/>
                  <a:pt x="713" y="620"/>
                </a:cubicBezTo>
                <a:cubicBezTo>
                  <a:pt x="713" y="620"/>
                  <a:pt x="729" y="624"/>
                  <a:pt x="726" y="618"/>
                </a:cubicBezTo>
                <a:cubicBezTo>
                  <a:pt x="724" y="612"/>
                  <a:pt x="714" y="600"/>
                  <a:pt x="700" y="609"/>
                </a:cubicBezTo>
                <a:close/>
                <a:moveTo>
                  <a:pt x="1097" y="498"/>
                </a:moveTo>
                <a:cubicBezTo>
                  <a:pt x="1097" y="498"/>
                  <a:pt x="1093" y="510"/>
                  <a:pt x="1097" y="510"/>
                </a:cubicBezTo>
                <a:cubicBezTo>
                  <a:pt x="1101" y="510"/>
                  <a:pt x="1142" y="485"/>
                  <a:pt x="1142" y="485"/>
                </a:cubicBezTo>
                <a:cubicBezTo>
                  <a:pt x="1142" y="485"/>
                  <a:pt x="1103" y="515"/>
                  <a:pt x="1114" y="520"/>
                </a:cubicBezTo>
                <a:cubicBezTo>
                  <a:pt x="1125" y="525"/>
                  <a:pt x="1153" y="526"/>
                  <a:pt x="1153" y="526"/>
                </a:cubicBezTo>
                <a:cubicBezTo>
                  <a:pt x="1219" y="532"/>
                  <a:pt x="1219" y="532"/>
                  <a:pt x="1219" y="532"/>
                </a:cubicBezTo>
                <a:cubicBezTo>
                  <a:pt x="1240" y="519"/>
                  <a:pt x="1240" y="519"/>
                  <a:pt x="1240" y="519"/>
                </a:cubicBezTo>
                <a:cubicBezTo>
                  <a:pt x="1240" y="519"/>
                  <a:pt x="1227" y="541"/>
                  <a:pt x="1238" y="542"/>
                </a:cubicBezTo>
                <a:cubicBezTo>
                  <a:pt x="1249" y="543"/>
                  <a:pt x="1281" y="541"/>
                  <a:pt x="1281" y="541"/>
                </a:cubicBezTo>
                <a:cubicBezTo>
                  <a:pt x="1303" y="535"/>
                  <a:pt x="1303" y="535"/>
                  <a:pt x="1303" y="535"/>
                </a:cubicBezTo>
                <a:cubicBezTo>
                  <a:pt x="1303" y="535"/>
                  <a:pt x="1264" y="549"/>
                  <a:pt x="1267" y="557"/>
                </a:cubicBezTo>
                <a:cubicBezTo>
                  <a:pt x="1270" y="565"/>
                  <a:pt x="1288" y="573"/>
                  <a:pt x="1288" y="573"/>
                </a:cubicBezTo>
                <a:cubicBezTo>
                  <a:pt x="1288" y="573"/>
                  <a:pt x="1286" y="609"/>
                  <a:pt x="1298" y="609"/>
                </a:cubicBezTo>
                <a:cubicBezTo>
                  <a:pt x="1310" y="609"/>
                  <a:pt x="1341" y="606"/>
                  <a:pt x="1341" y="606"/>
                </a:cubicBezTo>
                <a:cubicBezTo>
                  <a:pt x="1334" y="585"/>
                  <a:pt x="1334" y="585"/>
                  <a:pt x="1334" y="585"/>
                </a:cubicBezTo>
                <a:cubicBezTo>
                  <a:pt x="1348" y="580"/>
                  <a:pt x="1348" y="580"/>
                  <a:pt x="1348" y="580"/>
                </a:cubicBezTo>
                <a:cubicBezTo>
                  <a:pt x="1357" y="591"/>
                  <a:pt x="1357" y="591"/>
                  <a:pt x="1357" y="591"/>
                </a:cubicBezTo>
                <a:cubicBezTo>
                  <a:pt x="1377" y="585"/>
                  <a:pt x="1377" y="585"/>
                  <a:pt x="1377" y="585"/>
                </a:cubicBezTo>
                <a:cubicBezTo>
                  <a:pt x="1377" y="585"/>
                  <a:pt x="1357" y="608"/>
                  <a:pt x="1368" y="612"/>
                </a:cubicBezTo>
                <a:cubicBezTo>
                  <a:pt x="1379" y="616"/>
                  <a:pt x="1397" y="586"/>
                  <a:pt x="1397" y="586"/>
                </a:cubicBezTo>
                <a:cubicBezTo>
                  <a:pt x="1417" y="557"/>
                  <a:pt x="1417" y="557"/>
                  <a:pt x="1417" y="557"/>
                </a:cubicBezTo>
                <a:cubicBezTo>
                  <a:pt x="1399" y="599"/>
                  <a:pt x="1399" y="599"/>
                  <a:pt x="1399" y="599"/>
                </a:cubicBezTo>
                <a:cubicBezTo>
                  <a:pt x="1403" y="615"/>
                  <a:pt x="1403" y="615"/>
                  <a:pt x="1403" y="615"/>
                </a:cubicBezTo>
                <a:cubicBezTo>
                  <a:pt x="1426" y="607"/>
                  <a:pt x="1426" y="607"/>
                  <a:pt x="1426" y="607"/>
                </a:cubicBezTo>
                <a:cubicBezTo>
                  <a:pt x="1411" y="623"/>
                  <a:pt x="1411" y="623"/>
                  <a:pt x="1411" y="623"/>
                </a:cubicBezTo>
                <a:cubicBezTo>
                  <a:pt x="1428" y="638"/>
                  <a:pt x="1428" y="638"/>
                  <a:pt x="1428" y="638"/>
                </a:cubicBezTo>
                <a:cubicBezTo>
                  <a:pt x="1416" y="635"/>
                  <a:pt x="1416" y="635"/>
                  <a:pt x="1416" y="635"/>
                </a:cubicBezTo>
                <a:cubicBezTo>
                  <a:pt x="1414" y="647"/>
                  <a:pt x="1414" y="647"/>
                  <a:pt x="1414" y="647"/>
                </a:cubicBezTo>
                <a:cubicBezTo>
                  <a:pt x="1395" y="660"/>
                  <a:pt x="1395" y="660"/>
                  <a:pt x="1395" y="660"/>
                </a:cubicBezTo>
                <a:cubicBezTo>
                  <a:pt x="1383" y="670"/>
                  <a:pt x="1383" y="670"/>
                  <a:pt x="1383" y="670"/>
                </a:cubicBezTo>
                <a:cubicBezTo>
                  <a:pt x="1404" y="681"/>
                  <a:pt x="1404" y="681"/>
                  <a:pt x="1404" y="681"/>
                </a:cubicBezTo>
                <a:cubicBezTo>
                  <a:pt x="1401" y="702"/>
                  <a:pt x="1401" y="702"/>
                  <a:pt x="1401" y="702"/>
                </a:cubicBezTo>
                <a:cubicBezTo>
                  <a:pt x="1389" y="714"/>
                  <a:pt x="1389" y="714"/>
                  <a:pt x="1389" y="714"/>
                </a:cubicBezTo>
                <a:cubicBezTo>
                  <a:pt x="1401" y="719"/>
                  <a:pt x="1401" y="719"/>
                  <a:pt x="1401" y="719"/>
                </a:cubicBezTo>
                <a:cubicBezTo>
                  <a:pt x="1386" y="733"/>
                  <a:pt x="1386" y="733"/>
                  <a:pt x="1386" y="733"/>
                </a:cubicBezTo>
                <a:cubicBezTo>
                  <a:pt x="1407" y="733"/>
                  <a:pt x="1407" y="733"/>
                  <a:pt x="1407" y="733"/>
                </a:cubicBezTo>
                <a:cubicBezTo>
                  <a:pt x="1432" y="724"/>
                  <a:pt x="1432" y="724"/>
                  <a:pt x="1432" y="724"/>
                </a:cubicBezTo>
                <a:cubicBezTo>
                  <a:pt x="1410" y="750"/>
                  <a:pt x="1410" y="750"/>
                  <a:pt x="1410" y="750"/>
                </a:cubicBezTo>
                <a:cubicBezTo>
                  <a:pt x="1399" y="760"/>
                  <a:pt x="1399" y="760"/>
                  <a:pt x="1399" y="760"/>
                </a:cubicBezTo>
                <a:cubicBezTo>
                  <a:pt x="1414" y="765"/>
                  <a:pt x="1414" y="765"/>
                  <a:pt x="1414" y="765"/>
                </a:cubicBezTo>
                <a:cubicBezTo>
                  <a:pt x="1384" y="777"/>
                  <a:pt x="1384" y="777"/>
                  <a:pt x="1384" y="777"/>
                </a:cubicBezTo>
                <a:cubicBezTo>
                  <a:pt x="1370" y="785"/>
                  <a:pt x="1370" y="785"/>
                  <a:pt x="1370" y="785"/>
                </a:cubicBezTo>
                <a:cubicBezTo>
                  <a:pt x="1384" y="791"/>
                  <a:pt x="1384" y="791"/>
                  <a:pt x="1384" y="791"/>
                </a:cubicBezTo>
                <a:cubicBezTo>
                  <a:pt x="1384" y="791"/>
                  <a:pt x="1383" y="794"/>
                  <a:pt x="1381" y="798"/>
                </a:cubicBezTo>
                <a:cubicBezTo>
                  <a:pt x="1402" y="788"/>
                  <a:pt x="1423" y="777"/>
                  <a:pt x="1427" y="773"/>
                </a:cubicBezTo>
                <a:cubicBezTo>
                  <a:pt x="1437" y="763"/>
                  <a:pt x="1437" y="747"/>
                  <a:pt x="1437" y="747"/>
                </a:cubicBezTo>
                <a:cubicBezTo>
                  <a:pt x="1437" y="747"/>
                  <a:pt x="1464" y="736"/>
                  <a:pt x="1464" y="728"/>
                </a:cubicBezTo>
                <a:cubicBezTo>
                  <a:pt x="1464" y="720"/>
                  <a:pt x="1454" y="721"/>
                  <a:pt x="1454" y="721"/>
                </a:cubicBezTo>
                <a:cubicBezTo>
                  <a:pt x="1454" y="721"/>
                  <a:pt x="1447" y="719"/>
                  <a:pt x="1447" y="714"/>
                </a:cubicBezTo>
                <a:cubicBezTo>
                  <a:pt x="1447" y="710"/>
                  <a:pt x="1419" y="709"/>
                  <a:pt x="1424" y="696"/>
                </a:cubicBezTo>
                <a:cubicBezTo>
                  <a:pt x="1429" y="683"/>
                  <a:pt x="1435" y="666"/>
                  <a:pt x="1435" y="666"/>
                </a:cubicBezTo>
                <a:cubicBezTo>
                  <a:pt x="1435" y="642"/>
                  <a:pt x="1435" y="642"/>
                  <a:pt x="1435" y="642"/>
                </a:cubicBezTo>
                <a:cubicBezTo>
                  <a:pt x="1435" y="642"/>
                  <a:pt x="1452" y="623"/>
                  <a:pt x="1445" y="606"/>
                </a:cubicBezTo>
                <a:cubicBezTo>
                  <a:pt x="1439" y="588"/>
                  <a:pt x="1432" y="586"/>
                  <a:pt x="1432" y="586"/>
                </a:cubicBezTo>
                <a:cubicBezTo>
                  <a:pt x="1438" y="575"/>
                  <a:pt x="1438" y="575"/>
                  <a:pt x="1438" y="575"/>
                </a:cubicBezTo>
                <a:cubicBezTo>
                  <a:pt x="1438" y="558"/>
                  <a:pt x="1438" y="558"/>
                  <a:pt x="1438" y="558"/>
                </a:cubicBezTo>
                <a:cubicBezTo>
                  <a:pt x="1438" y="558"/>
                  <a:pt x="1465" y="548"/>
                  <a:pt x="1446" y="542"/>
                </a:cubicBezTo>
                <a:cubicBezTo>
                  <a:pt x="1428" y="537"/>
                  <a:pt x="1400" y="547"/>
                  <a:pt x="1400" y="547"/>
                </a:cubicBezTo>
                <a:cubicBezTo>
                  <a:pt x="1398" y="555"/>
                  <a:pt x="1398" y="555"/>
                  <a:pt x="1398" y="555"/>
                </a:cubicBezTo>
                <a:cubicBezTo>
                  <a:pt x="1386" y="555"/>
                  <a:pt x="1386" y="555"/>
                  <a:pt x="1386" y="555"/>
                </a:cubicBezTo>
                <a:cubicBezTo>
                  <a:pt x="1386" y="555"/>
                  <a:pt x="1380" y="565"/>
                  <a:pt x="1372" y="565"/>
                </a:cubicBezTo>
                <a:cubicBezTo>
                  <a:pt x="1365" y="565"/>
                  <a:pt x="1344" y="572"/>
                  <a:pt x="1344" y="572"/>
                </a:cubicBezTo>
                <a:cubicBezTo>
                  <a:pt x="1344" y="572"/>
                  <a:pt x="1328" y="585"/>
                  <a:pt x="1322" y="585"/>
                </a:cubicBezTo>
                <a:cubicBezTo>
                  <a:pt x="1317" y="585"/>
                  <a:pt x="1336" y="566"/>
                  <a:pt x="1336" y="566"/>
                </a:cubicBezTo>
                <a:cubicBezTo>
                  <a:pt x="1336" y="566"/>
                  <a:pt x="1317" y="558"/>
                  <a:pt x="1317" y="547"/>
                </a:cubicBezTo>
                <a:cubicBezTo>
                  <a:pt x="1317" y="537"/>
                  <a:pt x="1317" y="528"/>
                  <a:pt x="1317" y="528"/>
                </a:cubicBezTo>
                <a:cubicBezTo>
                  <a:pt x="1332" y="513"/>
                  <a:pt x="1332" y="513"/>
                  <a:pt x="1332" y="513"/>
                </a:cubicBezTo>
                <a:cubicBezTo>
                  <a:pt x="1308" y="513"/>
                  <a:pt x="1308" y="513"/>
                  <a:pt x="1308" y="513"/>
                </a:cubicBezTo>
                <a:cubicBezTo>
                  <a:pt x="1308" y="513"/>
                  <a:pt x="1299" y="518"/>
                  <a:pt x="1296" y="518"/>
                </a:cubicBezTo>
                <a:cubicBezTo>
                  <a:pt x="1296" y="518"/>
                  <a:pt x="1267" y="524"/>
                  <a:pt x="1261" y="518"/>
                </a:cubicBezTo>
                <a:cubicBezTo>
                  <a:pt x="1255" y="512"/>
                  <a:pt x="1281" y="498"/>
                  <a:pt x="1281" y="498"/>
                </a:cubicBezTo>
                <a:cubicBezTo>
                  <a:pt x="1796" y="74"/>
                  <a:pt x="1796" y="74"/>
                  <a:pt x="1796" y="74"/>
                </a:cubicBezTo>
                <a:cubicBezTo>
                  <a:pt x="1784" y="74"/>
                  <a:pt x="1784" y="74"/>
                  <a:pt x="1784" y="74"/>
                </a:cubicBezTo>
                <a:cubicBezTo>
                  <a:pt x="1784" y="74"/>
                  <a:pt x="1781" y="51"/>
                  <a:pt x="1755" y="53"/>
                </a:cubicBezTo>
                <a:cubicBezTo>
                  <a:pt x="1729" y="55"/>
                  <a:pt x="1698" y="64"/>
                  <a:pt x="1694" y="64"/>
                </a:cubicBezTo>
                <a:cubicBezTo>
                  <a:pt x="1690" y="64"/>
                  <a:pt x="1663" y="50"/>
                  <a:pt x="1659" y="48"/>
                </a:cubicBezTo>
                <a:cubicBezTo>
                  <a:pt x="1655" y="46"/>
                  <a:pt x="1605" y="47"/>
                  <a:pt x="1605" y="47"/>
                </a:cubicBezTo>
                <a:cubicBezTo>
                  <a:pt x="1605" y="47"/>
                  <a:pt x="1589" y="39"/>
                  <a:pt x="1571" y="37"/>
                </a:cubicBezTo>
                <a:cubicBezTo>
                  <a:pt x="1553" y="35"/>
                  <a:pt x="1482" y="38"/>
                  <a:pt x="1479" y="38"/>
                </a:cubicBezTo>
                <a:cubicBezTo>
                  <a:pt x="1476" y="38"/>
                  <a:pt x="1482" y="24"/>
                  <a:pt x="1482" y="24"/>
                </a:cubicBezTo>
                <a:cubicBezTo>
                  <a:pt x="1482" y="24"/>
                  <a:pt x="1446" y="19"/>
                  <a:pt x="1441" y="18"/>
                </a:cubicBezTo>
                <a:cubicBezTo>
                  <a:pt x="1436" y="17"/>
                  <a:pt x="1403" y="24"/>
                  <a:pt x="1403" y="24"/>
                </a:cubicBezTo>
                <a:cubicBezTo>
                  <a:pt x="1423" y="2"/>
                  <a:pt x="1423" y="2"/>
                  <a:pt x="1423" y="2"/>
                </a:cubicBezTo>
                <a:cubicBezTo>
                  <a:pt x="1368" y="24"/>
                  <a:pt x="1368" y="24"/>
                  <a:pt x="1368" y="24"/>
                </a:cubicBezTo>
                <a:cubicBezTo>
                  <a:pt x="1389" y="2"/>
                  <a:pt x="1389" y="2"/>
                  <a:pt x="1389" y="2"/>
                </a:cubicBezTo>
                <a:cubicBezTo>
                  <a:pt x="1369" y="0"/>
                  <a:pt x="1369" y="0"/>
                  <a:pt x="1369" y="0"/>
                </a:cubicBezTo>
                <a:cubicBezTo>
                  <a:pt x="1369" y="0"/>
                  <a:pt x="1338" y="22"/>
                  <a:pt x="1308" y="22"/>
                </a:cubicBezTo>
                <a:cubicBezTo>
                  <a:pt x="1278" y="22"/>
                  <a:pt x="1232" y="16"/>
                  <a:pt x="1224" y="24"/>
                </a:cubicBezTo>
                <a:cubicBezTo>
                  <a:pt x="1216" y="32"/>
                  <a:pt x="1186" y="39"/>
                  <a:pt x="1186" y="39"/>
                </a:cubicBezTo>
                <a:cubicBezTo>
                  <a:pt x="1186" y="39"/>
                  <a:pt x="1137" y="39"/>
                  <a:pt x="1111" y="42"/>
                </a:cubicBezTo>
                <a:cubicBezTo>
                  <a:pt x="1085" y="45"/>
                  <a:pt x="1024" y="91"/>
                  <a:pt x="982" y="97"/>
                </a:cubicBezTo>
                <a:cubicBezTo>
                  <a:pt x="940" y="103"/>
                  <a:pt x="888" y="107"/>
                  <a:pt x="888" y="107"/>
                </a:cubicBezTo>
                <a:cubicBezTo>
                  <a:pt x="888" y="107"/>
                  <a:pt x="825" y="128"/>
                  <a:pt x="828" y="133"/>
                </a:cubicBezTo>
                <a:cubicBezTo>
                  <a:pt x="831" y="138"/>
                  <a:pt x="852" y="149"/>
                  <a:pt x="852" y="149"/>
                </a:cubicBezTo>
                <a:cubicBezTo>
                  <a:pt x="852" y="149"/>
                  <a:pt x="865" y="172"/>
                  <a:pt x="859" y="175"/>
                </a:cubicBezTo>
                <a:cubicBezTo>
                  <a:pt x="853" y="178"/>
                  <a:pt x="844" y="187"/>
                  <a:pt x="844" y="187"/>
                </a:cubicBezTo>
                <a:cubicBezTo>
                  <a:pt x="904" y="188"/>
                  <a:pt x="904" y="188"/>
                  <a:pt x="904" y="188"/>
                </a:cubicBezTo>
                <a:cubicBezTo>
                  <a:pt x="885" y="211"/>
                  <a:pt x="885" y="211"/>
                  <a:pt x="885" y="211"/>
                </a:cubicBezTo>
                <a:cubicBezTo>
                  <a:pt x="929" y="213"/>
                  <a:pt x="929" y="213"/>
                  <a:pt x="929" y="213"/>
                </a:cubicBezTo>
                <a:cubicBezTo>
                  <a:pt x="922" y="225"/>
                  <a:pt x="922" y="225"/>
                  <a:pt x="922" y="225"/>
                </a:cubicBezTo>
                <a:cubicBezTo>
                  <a:pt x="886" y="224"/>
                  <a:pt x="886" y="224"/>
                  <a:pt x="886" y="224"/>
                </a:cubicBezTo>
                <a:cubicBezTo>
                  <a:pt x="879" y="232"/>
                  <a:pt x="879" y="232"/>
                  <a:pt x="879" y="232"/>
                </a:cubicBezTo>
                <a:cubicBezTo>
                  <a:pt x="857" y="232"/>
                  <a:pt x="857" y="232"/>
                  <a:pt x="857" y="232"/>
                </a:cubicBezTo>
                <a:cubicBezTo>
                  <a:pt x="857" y="232"/>
                  <a:pt x="823" y="238"/>
                  <a:pt x="798" y="238"/>
                </a:cubicBezTo>
                <a:cubicBezTo>
                  <a:pt x="773" y="238"/>
                  <a:pt x="778" y="228"/>
                  <a:pt x="792" y="223"/>
                </a:cubicBezTo>
                <a:cubicBezTo>
                  <a:pt x="806" y="218"/>
                  <a:pt x="764" y="215"/>
                  <a:pt x="764" y="215"/>
                </a:cubicBezTo>
                <a:cubicBezTo>
                  <a:pt x="764" y="215"/>
                  <a:pt x="716" y="213"/>
                  <a:pt x="714" y="221"/>
                </a:cubicBezTo>
                <a:cubicBezTo>
                  <a:pt x="712" y="229"/>
                  <a:pt x="716" y="234"/>
                  <a:pt x="716" y="234"/>
                </a:cubicBezTo>
                <a:cubicBezTo>
                  <a:pt x="716" y="234"/>
                  <a:pt x="681" y="236"/>
                  <a:pt x="658" y="239"/>
                </a:cubicBezTo>
                <a:cubicBezTo>
                  <a:pt x="635" y="242"/>
                  <a:pt x="567" y="255"/>
                  <a:pt x="584" y="261"/>
                </a:cubicBezTo>
                <a:cubicBezTo>
                  <a:pt x="601" y="267"/>
                  <a:pt x="624" y="270"/>
                  <a:pt x="624" y="270"/>
                </a:cubicBezTo>
                <a:cubicBezTo>
                  <a:pt x="595" y="280"/>
                  <a:pt x="595" y="280"/>
                  <a:pt x="595" y="280"/>
                </a:cubicBezTo>
                <a:cubicBezTo>
                  <a:pt x="587" y="307"/>
                  <a:pt x="587" y="307"/>
                  <a:pt x="587" y="307"/>
                </a:cubicBezTo>
                <a:cubicBezTo>
                  <a:pt x="587" y="307"/>
                  <a:pt x="611" y="311"/>
                  <a:pt x="627" y="311"/>
                </a:cubicBezTo>
                <a:cubicBezTo>
                  <a:pt x="643" y="311"/>
                  <a:pt x="657" y="308"/>
                  <a:pt x="657" y="308"/>
                </a:cubicBezTo>
                <a:cubicBezTo>
                  <a:pt x="686" y="316"/>
                  <a:pt x="686" y="316"/>
                  <a:pt x="686" y="316"/>
                </a:cubicBezTo>
                <a:cubicBezTo>
                  <a:pt x="695" y="304"/>
                  <a:pt x="695" y="304"/>
                  <a:pt x="695" y="304"/>
                </a:cubicBezTo>
                <a:cubicBezTo>
                  <a:pt x="704" y="315"/>
                  <a:pt x="704" y="315"/>
                  <a:pt x="704" y="315"/>
                </a:cubicBezTo>
                <a:cubicBezTo>
                  <a:pt x="704" y="315"/>
                  <a:pt x="736" y="297"/>
                  <a:pt x="741" y="297"/>
                </a:cubicBezTo>
                <a:cubicBezTo>
                  <a:pt x="746" y="297"/>
                  <a:pt x="754" y="303"/>
                  <a:pt x="764" y="299"/>
                </a:cubicBezTo>
                <a:cubicBezTo>
                  <a:pt x="774" y="295"/>
                  <a:pt x="792" y="281"/>
                  <a:pt x="793" y="290"/>
                </a:cubicBezTo>
                <a:cubicBezTo>
                  <a:pt x="794" y="299"/>
                  <a:pt x="784" y="311"/>
                  <a:pt x="784" y="311"/>
                </a:cubicBezTo>
                <a:cubicBezTo>
                  <a:pt x="746" y="312"/>
                  <a:pt x="746" y="312"/>
                  <a:pt x="746" y="312"/>
                </a:cubicBezTo>
                <a:cubicBezTo>
                  <a:pt x="751" y="333"/>
                  <a:pt x="751" y="333"/>
                  <a:pt x="751" y="333"/>
                </a:cubicBezTo>
                <a:cubicBezTo>
                  <a:pt x="751" y="333"/>
                  <a:pt x="723" y="360"/>
                  <a:pt x="705" y="361"/>
                </a:cubicBezTo>
                <a:cubicBezTo>
                  <a:pt x="687" y="362"/>
                  <a:pt x="667" y="362"/>
                  <a:pt x="667" y="362"/>
                </a:cubicBezTo>
                <a:cubicBezTo>
                  <a:pt x="657" y="350"/>
                  <a:pt x="657" y="350"/>
                  <a:pt x="657" y="350"/>
                </a:cubicBezTo>
                <a:cubicBezTo>
                  <a:pt x="645" y="357"/>
                  <a:pt x="645" y="357"/>
                  <a:pt x="645" y="357"/>
                </a:cubicBezTo>
                <a:cubicBezTo>
                  <a:pt x="645" y="365"/>
                  <a:pt x="645" y="365"/>
                  <a:pt x="645" y="365"/>
                </a:cubicBezTo>
                <a:cubicBezTo>
                  <a:pt x="645" y="365"/>
                  <a:pt x="604" y="389"/>
                  <a:pt x="591" y="381"/>
                </a:cubicBezTo>
                <a:cubicBezTo>
                  <a:pt x="578" y="373"/>
                  <a:pt x="571" y="371"/>
                  <a:pt x="571" y="371"/>
                </a:cubicBezTo>
                <a:cubicBezTo>
                  <a:pt x="509" y="406"/>
                  <a:pt x="509" y="406"/>
                  <a:pt x="509" y="406"/>
                </a:cubicBezTo>
                <a:cubicBezTo>
                  <a:pt x="495" y="418"/>
                  <a:pt x="495" y="418"/>
                  <a:pt x="495" y="418"/>
                </a:cubicBezTo>
                <a:cubicBezTo>
                  <a:pt x="492" y="404"/>
                  <a:pt x="492" y="404"/>
                  <a:pt x="492" y="404"/>
                </a:cubicBezTo>
                <a:cubicBezTo>
                  <a:pt x="492" y="404"/>
                  <a:pt x="467" y="415"/>
                  <a:pt x="453" y="420"/>
                </a:cubicBezTo>
                <a:cubicBezTo>
                  <a:pt x="439" y="425"/>
                  <a:pt x="429" y="440"/>
                  <a:pt x="429" y="440"/>
                </a:cubicBezTo>
                <a:cubicBezTo>
                  <a:pt x="409" y="434"/>
                  <a:pt x="409" y="434"/>
                  <a:pt x="409" y="434"/>
                </a:cubicBezTo>
                <a:cubicBezTo>
                  <a:pt x="409" y="447"/>
                  <a:pt x="409" y="447"/>
                  <a:pt x="409" y="447"/>
                </a:cubicBezTo>
                <a:cubicBezTo>
                  <a:pt x="409" y="447"/>
                  <a:pt x="396" y="441"/>
                  <a:pt x="393" y="447"/>
                </a:cubicBezTo>
                <a:cubicBezTo>
                  <a:pt x="390" y="453"/>
                  <a:pt x="390" y="462"/>
                  <a:pt x="390" y="462"/>
                </a:cubicBezTo>
                <a:cubicBezTo>
                  <a:pt x="383" y="471"/>
                  <a:pt x="383" y="471"/>
                  <a:pt x="383" y="471"/>
                </a:cubicBezTo>
                <a:cubicBezTo>
                  <a:pt x="423" y="457"/>
                  <a:pt x="423" y="457"/>
                  <a:pt x="423" y="457"/>
                </a:cubicBezTo>
                <a:cubicBezTo>
                  <a:pt x="408" y="469"/>
                  <a:pt x="408" y="469"/>
                  <a:pt x="408" y="469"/>
                </a:cubicBezTo>
                <a:cubicBezTo>
                  <a:pt x="408" y="475"/>
                  <a:pt x="408" y="475"/>
                  <a:pt x="408" y="475"/>
                </a:cubicBezTo>
                <a:cubicBezTo>
                  <a:pt x="395" y="483"/>
                  <a:pt x="395" y="483"/>
                  <a:pt x="395" y="483"/>
                </a:cubicBezTo>
                <a:cubicBezTo>
                  <a:pt x="395" y="483"/>
                  <a:pt x="445" y="482"/>
                  <a:pt x="436" y="491"/>
                </a:cubicBezTo>
                <a:cubicBezTo>
                  <a:pt x="427" y="500"/>
                  <a:pt x="405" y="498"/>
                  <a:pt x="405" y="498"/>
                </a:cubicBezTo>
                <a:cubicBezTo>
                  <a:pt x="388" y="502"/>
                  <a:pt x="388" y="502"/>
                  <a:pt x="388" y="502"/>
                </a:cubicBezTo>
                <a:cubicBezTo>
                  <a:pt x="396" y="494"/>
                  <a:pt x="396" y="494"/>
                  <a:pt x="396" y="494"/>
                </a:cubicBezTo>
                <a:cubicBezTo>
                  <a:pt x="387" y="489"/>
                  <a:pt x="387" y="489"/>
                  <a:pt x="387" y="489"/>
                </a:cubicBezTo>
                <a:cubicBezTo>
                  <a:pt x="387" y="489"/>
                  <a:pt x="358" y="500"/>
                  <a:pt x="359" y="503"/>
                </a:cubicBezTo>
                <a:cubicBezTo>
                  <a:pt x="360" y="506"/>
                  <a:pt x="366" y="510"/>
                  <a:pt x="366" y="510"/>
                </a:cubicBezTo>
                <a:cubicBezTo>
                  <a:pt x="366" y="510"/>
                  <a:pt x="355" y="537"/>
                  <a:pt x="359" y="538"/>
                </a:cubicBezTo>
                <a:cubicBezTo>
                  <a:pt x="363" y="539"/>
                  <a:pt x="406" y="536"/>
                  <a:pt x="406" y="536"/>
                </a:cubicBezTo>
                <a:cubicBezTo>
                  <a:pt x="438" y="518"/>
                  <a:pt x="438" y="518"/>
                  <a:pt x="438" y="518"/>
                </a:cubicBezTo>
                <a:cubicBezTo>
                  <a:pt x="485" y="499"/>
                  <a:pt x="485" y="499"/>
                  <a:pt x="485" y="499"/>
                </a:cubicBezTo>
                <a:cubicBezTo>
                  <a:pt x="485" y="499"/>
                  <a:pt x="441" y="520"/>
                  <a:pt x="436" y="528"/>
                </a:cubicBezTo>
                <a:cubicBezTo>
                  <a:pt x="431" y="536"/>
                  <a:pt x="432" y="552"/>
                  <a:pt x="425" y="554"/>
                </a:cubicBezTo>
                <a:cubicBezTo>
                  <a:pt x="418" y="556"/>
                  <a:pt x="406" y="549"/>
                  <a:pt x="400" y="558"/>
                </a:cubicBezTo>
                <a:cubicBezTo>
                  <a:pt x="394" y="567"/>
                  <a:pt x="390" y="577"/>
                  <a:pt x="385" y="582"/>
                </a:cubicBezTo>
                <a:cubicBezTo>
                  <a:pt x="380" y="587"/>
                  <a:pt x="365" y="596"/>
                  <a:pt x="365" y="596"/>
                </a:cubicBezTo>
                <a:cubicBezTo>
                  <a:pt x="401" y="592"/>
                  <a:pt x="401" y="592"/>
                  <a:pt x="401" y="592"/>
                </a:cubicBezTo>
                <a:cubicBezTo>
                  <a:pt x="394" y="604"/>
                  <a:pt x="394" y="604"/>
                  <a:pt x="394" y="604"/>
                </a:cubicBezTo>
                <a:cubicBezTo>
                  <a:pt x="394" y="604"/>
                  <a:pt x="424" y="573"/>
                  <a:pt x="441" y="576"/>
                </a:cubicBezTo>
                <a:cubicBezTo>
                  <a:pt x="458" y="579"/>
                  <a:pt x="449" y="584"/>
                  <a:pt x="449" y="584"/>
                </a:cubicBezTo>
                <a:cubicBezTo>
                  <a:pt x="465" y="582"/>
                  <a:pt x="465" y="582"/>
                  <a:pt x="465" y="582"/>
                </a:cubicBezTo>
                <a:cubicBezTo>
                  <a:pt x="465" y="582"/>
                  <a:pt x="452" y="607"/>
                  <a:pt x="466" y="607"/>
                </a:cubicBezTo>
                <a:cubicBezTo>
                  <a:pt x="480" y="607"/>
                  <a:pt x="497" y="585"/>
                  <a:pt x="497" y="585"/>
                </a:cubicBezTo>
                <a:cubicBezTo>
                  <a:pt x="525" y="572"/>
                  <a:pt x="525" y="572"/>
                  <a:pt x="525" y="572"/>
                </a:cubicBezTo>
                <a:cubicBezTo>
                  <a:pt x="532" y="580"/>
                  <a:pt x="532" y="580"/>
                  <a:pt x="532" y="580"/>
                </a:cubicBezTo>
                <a:cubicBezTo>
                  <a:pt x="512" y="582"/>
                  <a:pt x="512" y="582"/>
                  <a:pt x="512" y="582"/>
                </a:cubicBezTo>
                <a:cubicBezTo>
                  <a:pt x="512" y="582"/>
                  <a:pt x="498" y="596"/>
                  <a:pt x="509" y="596"/>
                </a:cubicBezTo>
                <a:cubicBezTo>
                  <a:pt x="520" y="596"/>
                  <a:pt x="566" y="583"/>
                  <a:pt x="566" y="583"/>
                </a:cubicBezTo>
                <a:cubicBezTo>
                  <a:pt x="594" y="571"/>
                  <a:pt x="594" y="571"/>
                  <a:pt x="594" y="571"/>
                </a:cubicBezTo>
                <a:cubicBezTo>
                  <a:pt x="562" y="588"/>
                  <a:pt x="562" y="588"/>
                  <a:pt x="562" y="588"/>
                </a:cubicBezTo>
                <a:cubicBezTo>
                  <a:pt x="562" y="598"/>
                  <a:pt x="562" y="598"/>
                  <a:pt x="562" y="598"/>
                </a:cubicBezTo>
                <a:cubicBezTo>
                  <a:pt x="562" y="598"/>
                  <a:pt x="544" y="599"/>
                  <a:pt x="533" y="603"/>
                </a:cubicBezTo>
                <a:cubicBezTo>
                  <a:pt x="522" y="607"/>
                  <a:pt x="514" y="620"/>
                  <a:pt x="514" y="620"/>
                </a:cubicBezTo>
                <a:cubicBezTo>
                  <a:pt x="494" y="622"/>
                  <a:pt x="494" y="622"/>
                  <a:pt x="494" y="622"/>
                </a:cubicBezTo>
                <a:cubicBezTo>
                  <a:pt x="470" y="642"/>
                  <a:pt x="470" y="642"/>
                  <a:pt x="470" y="642"/>
                </a:cubicBezTo>
                <a:cubicBezTo>
                  <a:pt x="471" y="651"/>
                  <a:pt x="471" y="651"/>
                  <a:pt x="471" y="651"/>
                </a:cubicBezTo>
                <a:cubicBezTo>
                  <a:pt x="444" y="654"/>
                  <a:pt x="444" y="654"/>
                  <a:pt x="444" y="654"/>
                </a:cubicBezTo>
                <a:cubicBezTo>
                  <a:pt x="444" y="654"/>
                  <a:pt x="399" y="663"/>
                  <a:pt x="394" y="670"/>
                </a:cubicBezTo>
                <a:cubicBezTo>
                  <a:pt x="389" y="677"/>
                  <a:pt x="392" y="691"/>
                  <a:pt x="383" y="691"/>
                </a:cubicBezTo>
                <a:cubicBezTo>
                  <a:pt x="374" y="691"/>
                  <a:pt x="347" y="691"/>
                  <a:pt x="331" y="693"/>
                </a:cubicBezTo>
                <a:cubicBezTo>
                  <a:pt x="315" y="695"/>
                  <a:pt x="262" y="734"/>
                  <a:pt x="262" y="734"/>
                </a:cubicBezTo>
                <a:cubicBezTo>
                  <a:pt x="247" y="737"/>
                  <a:pt x="247" y="737"/>
                  <a:pt x="247" y="737"/>
                </a:cubicBezTo>
                <a:cubicBezTo>
                  <a:pt x="238" y="747"/>
                  <a:pt x="238" y="747"/>
                  <a:pt x="238" y="747"/>
                </a:cubicBezTo>
                <a:cubicBezTo>
                  <a:pt x="237" y="736"/>
                  <a:pt x="237" y="736"/>
                  <a:pt x="237" y="736"/>
                </a:cubicBezTo>
                <a:cubicBezTo>
                  <a:pt x="237" y="736"/>
                  <a:pt x="205" y="732"/>
                  <a:pt x="194" y="738"/>
                </a:cubicBezTo>
                <a:cubicBezTo>
                  <a:pt x="183" y="744"/>
                  <a:pt x="159" y="754"/>
                  <a:pt x="159" y="754"/>
                </a:cubicBezTo>
                <a:cubicBezTo>
                  <a:pt x="150" y="752"/>
                  <a:pt x="150" y="752"/>
                  <a:pt x="150" y="752"/>
                </a:cubicBezTo>
                <a:cubicBezTo>
                  <a:pt x="151" y="760"/>
                  <a:pt x="151" y="760"/>
                  <a:pt x="151" y="760"/>
                </a:cubicBezTo>
                <a:cubicBezTo>
                  <a:pt x="132" y="763"/>
                  <a:pt x="132" y="763"/>
                  <a:pt x="132" y="763"/>
                </a:cubicBezTo>
                <a:cubicBezTo>
                  <a:pt x="125" y="769"/>
                  <a:pt x="125" y="769"/>
                  <a:pt x="125" y="769"/>
                </a:cubicBezTo>
                <a:cubicBezTo>
                  <a:pt x="109" y="767"/>
                  <a:pt x="109" y="767"/>
                  <a:pt x="109" y="767"/>
                </a:cubicBezTo>
                <a:cubicBezTo>
                  <a:pt x="92" y="782"/>
                  <a:pt x="92" y="782"/>
                  <a:pt x="92" y="782"/>
                </a:cubicBezTo>
                <a:cubicBezTo>
                  <a:pt x="97" y="788"/>
                  <a:pt x="97" y="788"/>
                  <a:pt x="97" y="788"/>
                </a:cubicBezTo>
                <a:cubicBezTo>
                  <a:pt x="107" y="776"/>
                  <a:pt x="107" y="776"/>
                  <a:pt x="107" y="776"/>
                </a:cubicBezTo>
                <a:cubicBezTo>
                  <a:pt x="120" y="783"/>
                  <a:pt x="120" y="783"/>
                  <a:pt x="120" y="783"/>
                </a:cubicBezTo>
                <a:cubicBezTo>
                  <a:pt x="134" y="771"/>
                  <a:pt x="134" y="771"/>
                  <a:pt x="134" y="771"/>
                </a:cubicBezTo>
                <a:cubicBezTo>
                  <a:pt x="135" y="779"/>
                  <a:pt x="135" y="779"/>
                  <a:pt x="135" y="779"/>
                </a:cubicBezTo>
                <a:cubicBezTo>
                  <a:pt x="135" y="779"/>
                  <a:pt x="156" y="778"/>
                  <a:pt x="164" y="771"/>
                </a:cubicBezTo>
                <a:cubicBezTo>
                  <a:pt x="172" y="764"/>
                  <a:pt x="188" y="750"/>
                  <a:pt x="197" y="748"/>
                </a:cubicBezTo>
                <a:cubicBezTo>
                  <a:pt x="206" y="746"/>
                  <a:pt x="198" y="762"/>
                  <a:pt x="211" y="762"/>
                </a:cubicBezTo>
                <a:cubicBezTo>
                  <a:pt x="224" y="762"/>
                  <a:pt x="261" y="746"/>
                  <a:pt x="261" y="746"/>
                </a:cubicBezTo>
                <a:cubicBezTo>
                  <a:pt x="283" y="752"/>
                  <a:pt x="283" y="752"/>
                  <a:pt x="283" y="752"/>
                </a:cubicBezTo>
                <a:cubicBezTo>
                  <a:pt x="295" y="740"/>
                  <a:pt x="295" y="740"/>
                  <a:pt x="295" y="740"/>
                </a:cubicBezTo>
                <a:cubicBezTo>
                  <a:pt x="295" y="740"/>
                  <a:pt x="332" y="738"/>
                  <a:pt x="343" y="729"/>
                </a:cubicBezTo>
                <a:cubicBezTo>
                  <a:pt x="354" y="720"/>
                  <a:pt x="366" y="706"/>
                  <a:pt x="375" y="705"/>
                </a:cubicBezTo>
                <a:cubicBezTo>
                  <a:pt x="384" y="704"/>
                  <a:pt x="396" y="704"/>
                  <a:pt x="396" y="704"/>
                </a:cubicBezTo>
                <a:cubicBezTo>
                  <a:pt x="400" y="697"/>
                  <a:pt x="400" y="697"/>
                  <a:pt x="400" y="697"/>
                </a:cubicBezTo>
                <a:cubicBezTo>
                  <a:pt x="424" y="697"/>
                  <a:pt x="424" y="697"/>
                  <a:pt x="424" y="697"/>
                </a:cubicBezTo>
                <a:cubicBezTo>
                  <a:pt x="431" y="691"/>
                  <a:pt x="431" y="691"/>
                  <a:pt x="431" y="691"/>
                </a:cubicBezTo>
                <a:cubicBezTo>
                  <a:pt x="431" y="691"/>
                  <a:pt x="464" y="684"/>
                  <a:pt x="479" y="677"/>
                </a:cubicBezTo>
                <a:cubicBezTo>
                  <a:pt x="494" y="670"/>
                  <a:pt x="509" y="656"/>
                  <a:pt x="509" y="656"/>
                </a:cubicBezTo>
                <a:cubicBezTo>
                  <a:pt x="550" y="650"/>
                  <a:pt x="550" y="650"/>
                  <a:pt x="550" y="650"/>
                </a:cubicBezTo>
                <a:cubicBezTo>
                  <a:pt x="588" y="628"/>
                  <a:pt x="588" y="628"/>
                  <a:pt x="588" y="628"/>
                </a:cubicBezTo>
                <a:cubicBezTo>
                  <a:pt x="588" y="628"/>
                  <a:pt x="632" y="627"/>
                  <a:pt x="639" y="620"/>
                </a:cubicBezTo>
                <a:cubicBezTo>
                  <a:pt x="646" y="613"/>
                  <a:pt x="659" y="601"/>
                  <a:pt x="659" y="601"/>
                </a:cubicBezTo>
                <a:cubicBezTo>
                  <a:pt x="659" y="601"/>
                  <a:pt x="701" y="594"/>
                  <a:pt x="705" y="586"/>
                </a:cubicBezTo>
                <a:cubicBezTo>
                  <a:pt x="709" y="578"/>
                  <a:pt x="694" y="578"/>
                  <a:pt x="694" y="578"/>
                </a:cubicBezTo>
                <a:cubicBezTo>
                  <a:pt x="694" y="578"/>
                  <a:pt x="717" y="562"/>
                  <a:pt x="726" y="557"/>
                </a:cubicBezTo>
                <a:cubicBezTo>
                  <a:pt x="735" y="552"/>
                  <a:pt x="762" y="545"/>
                  <a:pt x="762" y="545"/>
                </a:cubicBezTo>
                <a:cubicBezTo>
                  <a:pt x="813" y="526"/>
                  <a:pt x="813" y="526"/>
                  <a:pt x="813" y="526"/>
                </a:cubicBezTo>
                <a:cubicBezTo>
                  <a:pt x="807" y="513"/>
                  <a:pt x="807" y="513"/>
                  <a:pt x="807" y="513"/>
                </a:cubicBezTo>
                <a:cubicBezTo>
                  <a:pt x="807" y="513"/>
                  <a:pt x="830" y="519"/>
                  <a:pt x="837" y="514"/>
                </a:cubicBezTo>
                <a:cubicBezTo>
                  <a:pt x="844" y="509"/>
                  <a:pt x="877" y="494"/>
                  <a:pt x="877" y="494"/>
                </a:cubicBezTo>
                <a:cubicBezTo>
                  <a:pt x="877" y="494"/>
                  <a:pt x="935" y="470"/>
                  <a:pt x="943" y="467"/>
                </a:cubicBezTo>
                <a:cubicBezTo>
                  <a:pt x="951" y="464"/>
                  <a:pt x="981" y="485"/>
                  <a:pt x="981" y="485"/>
                </a:cubicBezTo>
                <a:cubicBezTo>
                  <a:pt x="957" y="485"/>
                  <a:pt x="957" y="485"/>
                  <a:pt x="957" y="485"/>
                </a:cubicBezTo>
                <a:cubicBezTo>
                  <a:pt x="944" y="477"/>
                  <a:pt x="944" y="477"/>
                  <a:pt x="944" y="477"/>
                </a:cubicBezTo>
                <a:cubicBezTo>
                  <a:pt x="921" y="493"/>
                  <a:pt x="921" y="493"/>
                  <a:pt x="921" y="493"/>
                </a:cubicBezTo>
                <a:cubicBezTo>
                  <a:pt x="898" y="493"/>
                  <a:pt x="898" y="493"/>
                  <a:pt x="898" y="493"/>
                </a:cubicBezTo>
                <a:cubicBezTo>
                  <a:pt x="898" y="493"/>
                  <a:pt x="875" y="515"/>
                  <a:pt x="866" y="518"/>
                </a:cubicBezTo>
                <a:cubicBezTo>
                  <a:pt x="857" y="521"/>
                  <a:pt x="818" y="527"/>
                  <a:pt x="822" y="536"/>
                </a:cubicBezTo>
                <a:cubicBezTo>
                  <a:pt x="826" y="545"/>
                  <a:pt x="846" y="544"/>
                  <a:pt x="846" y="544"/>
                </a:cubicBezTo>
                <a:cubicBezTo>
                  <a:pt x="846" y="544"/>
                  <a:pt x="826" y="552"/>
                  <a:pt x="822" y="552"/>
                </a:cubicBezTo>
                <a:cubicBezTo>
                  <a:pt x="818" y="552"/>
                  <a:pt x="789" y="551"/>
                  <a:pt x="789" y="557"/>
                </a:cubicBezTo>
                <a:cubicBezTo>
                  <a:pt x="789" y="563"/>
                  <a:pt x="792" y="576"/>
                  <a:pt x="812" y="568"/>
                </a:cubicBezTo>
                <a:cubicBezTo>
                  <a:pt x="832" y="560"/>
                  <a:pt x="876" y="536"/>
                  <a:pt x="894" y="532"/>
                </a:cubicBezTo>
                <a:cubicBezTo>
                  <a:pt x="912" y="528"/>
                  <a:pt x="944" y="537"/>
                  <a:pt x="958" y="530"/>
                </a:cubicBezTo>
                <a:cubicBezTo>
                  <a:pt x="972" y="523"/>
                  <a:pt x="994" y="502"/>
                  <a:pt x="994" y="502"/>
                </a:cubicBezTo>
                <a:cubicBezTo>
                  <a:pt x="992" y="492"/>
                  <a:pt x="992" y="492"/>
                  <a:pt x="992" y="492"/>
                </a:cubicBezTo>
                <a:cubicBezTo>
                  <a:pt x="992" y="492"/>
                  <a:pt x="1046" y="471"/>
                  <a:pt x="1056" y="472"/>
                </a:cubicBezTo>
                <a:cubicBezTo>
                  <a:pt x="1066" y="473"/>
                  <a:pt x="1069" y="483"/>
                  <a:pt x="1069" y="483"/>
                </a:cubicBezTo>
                <a:cubicBezTo>
                  <a:pt x="1111" y="470"/>
                  <a:pt x="1111" y="470"/>
                  <a:pt x="1111" y="470"/>
                </a:cubicBezTo>
                <a:cubicBezTo>
                  <a:pt x="1083" y="492"/>
                  <a:pt x="1083" y="492"/>
                  <a:pt x="1083" y="492"/>
                </a:cubicBezTo>
                <a:lnTo>
                  <a:pt x="1097" y="498"/>
                </a:lnTo>
                <a:close/>
                <a:moveTo>
                  <a:pt x="3659" y="1179"/>
                </a:moveTo>
                <a:cubicBezTo>
                  <a:pt x="3647" y="1179"/>
                  <a:pt x="3656" y="1170"/>
                  <a:pt x="3643" y="1170"/>
                </a:cubicBezTo>
                <a:cubicBezTo>
                  <a:pt x="3630" y="1170"/>
                  <a:pt x="3619" y="1191"/>
                  <a:pt x="3619" y="1191"/>
                </a:cubicBezTo>
                <a:cubicBezTo>
                  <a:pt x="3592" y="1210"/>
                  <a:pt x="3592" y="1210"/>
                  <a:pt x="3592" y="1210"/>
                </a:cubicBezTo>
                <a:cubicBezTo>
                  <a:pt x="3592" y="1224"/>
                  <a:pt x="3592" y="1224"/>
                  <a:pt x="3592" y="1224"/>
                </a:cubicBezTo>
                <a:cubicBezTo>
                  <a:pt x="3592" y="1224"/>
                  <a:pt x="3584" y="1232"/>
                  <a:pt x="3578" y="1232"/>
                </a:cubicBezTo>
                <a:cubicBezTo>
                  <a:pt x="3572" y="1232"/>
                  <a:pt x="3569" y="1254"/>
                  <a:pt x="3569" y="1261"/>
                </a:cubicBezTo>
                <a:cubicBezTo>
                  <a:pt x="3569" y="1268"/>
                  <a:pt x="3562" y="1261"/>
                  <a:pt x="3552" y="1261"/>
                </a:cubicBezTo>
                <a:cubicBezTo>
                  <a:pt x="3543" y="1261"/>
                  <a:pt x="3532" y="1282"/>
                  <a:pt x="3532" y="1282"/>
                </a:cubicBezTo>
                <a:cubicBezTo>
                  <a:pt x="3532" y="1282"/>
                  <a:pt x="3524" y="1283"/>
                  <a:pt x="3512" y="1283"/>
                </a:cubicBezTo>
                <a:cubicBezTo>
                  <a:pt x="3500" y="1283"/>
                  <a:pt x="3500" y="1298"/>
                  <a:pt x="3500" y="1298"/>
                </a:cubicBezTo>
                <a:cubicBezTo>
                  <a:pt x="3500" y="1298"/>
                  <a:pt x="3369" y="1298"/>
                  <a:pt x="3352" y="1298"/>
                </a:cubicBezTo>
                <a:cubicBezTo>
                  <a:pt x="3335" y="1298"/>
                  <a:pt x="3301" y="1336"/>
                  <a:pt x="3293" y="1336"/>
                </a:cubicBezTo>
                <a:cubicBezTo>
                  <a:pt x="3285" y="1336"/>
                  <a:pt x="3283" y="1338"/>
                  <a:pt x="3277" y="1338"/>
                </a:cubicBezTo>
                <a:cubicBezTo>
                  <a:pt x="3276" y="1338"/>
                  <a:pt x="3274" y="1339"/>
                  <a:pt x="3272" y="1340"/>
                </a:cubicBezTo>
                <a:cubicBezTo>
                  <a:pt x="3277" y="1345"/>
                  <a:pt x="3278" y="1351"/>
                  <a:pt x="3278" y="1351"/>
                </a:cubicBezTo>
                <a:cubicBezTo>
                  <a:pt x="3278" y="1351"/>
                  <a:pt x="3277" y="1359"/>
                  <a:pt x="3270" y="1365"/>
                </a:cubicBezTo>
                <a:cubicBezTo>
                  <a:pt x="3263" y="1371"/>
                  <a:pt x="3263" y="1381"/>
                  <a:pt x="3263" y="1381"/>
                </a:cubicBezTo>
                <a:cubicBezTo>
                  <a:pt x="3251" y="1380"/>
                  <a:pt x="3251" y="1380"/>
                  <a:pt x="3251" y="1380"/>
                </a:cubicBezTo>
                <a:cubicBezTo>
                  <a:pt x="3251" y="1380"/>
                  <a:pt x="3251" y="1384"/>
                  <a:pt x="3239" y="1389"/>
                </a:cubicBezTo>
                <a:cubicBezTo>
                  <a:pt x="3227" y="1394"/>
                  <a:pt x="3221" y="1384"/>
                  <a:pt x="3221" y="1384"/>
                </a:cubicBezTo>
                <a:cubicBezTo>
                  <a:pt x="3221" y="1384"/>
                  <a:pt x="3216" y="1392"/>
                  <a:pt x="3203" y="1393"/>
                </a:cubicBezTo>
                <a:cubicBezTo>
                  <a:pt x="3190" y="1394"/>
                  <a:pt x="3186" y="1384"/>
                  <a:pt x="3177" y="1383"/>
                </a:cubicBezTo>
                <a:cubicBezTo>
                  <a:pt x="3168" y="1382"/>
                  <a:pt x="3161" y="1390"/>
                  <a:pt x="3140" y="1395"/>
                </a:cubicBezTo>
                <a:cubicBezTo>
                  <a:pt x="3139" y="1395"/>
                  <a:pt x="3137" y="1396"/>
                  <a:pt x="3136" y="1396"/>
                </a:cubicBezTo>
                <a:cubicBezTo>
                  <a:pt x="3137" y="1400"/>
                  <a:pt x="3137" y="1404"/>
                  <a:pt x="3135" y="1410"/>
                </a:cubicBezTo>
                <a:cubicBezTo>
                  <a:pt x="3134" y="1412"/>
                  <a:pt x="3132" y="1414"/>
                  <a:pt x="3129" y="1417"/>
                </a:cubicBezTo>
                <a:cubicBezTo>
                  <a:pt x="3138" y="1417"/>
                  <a:pt x="3138" y="1417"/>
                  <a:pt x="3138" y="1417"/>
                </a:cubicBezTo>
                <a:cubicBezTo>
                  <a:pt x="3138" y="1417"/>
                  <a:pt x="3058" y="1458"/>
                  <a:pt x="3050" y="1461"/>
                </a:cubicBezTo>
                <a:cubicBezTo>
                  <a:pt x="3042" y="1464"/>
                  <a:pt x="3034" y="1467"/>
                  <a:pt x="3014" y="1472"/>
                </a:cubicBezTo>
                <a:cubicBezTo>
                  <a:pt x="2994" y="1477"/>
                  <a:pt x="2986" y="1483"/>
                  <a:pt x="2979" y="1486"/>
                </a:cubicBezTo>
                <a:cubicBezTo>
                  <a:pt x="2972" y="1489"/>
                  <a:pt x="2960" y="1487"/>
                  <a:pt x="2960" y="1487"/>
                </a:cubicBezTo>
                <a:cubicBezTo>
                  <a:pt x="2960" y="1487"/>
                  <a:pt x="2960" y="1492"/>
                  <a:pt x="2948" y="1493"/>
                </a:cubicBezTo>
                <a:cubicBezTo>
                  <a:pt x="2936" y="1494"/>
                  <a:pt x="2935" y="1483"/>
                  <a:pt x="2935" y="1483"/>
                </a:cubicBezTo>
                <a:cubicBezTo>
                  <a:pt x="2935" y="1483"/>
                  <a:pt x="2913" y="1480"/>
                  <a:pt x="2913" y="1473"/>
                </a:cubicBezTo>
                <a:cubicBezTo>
                  <a:pt x="2913" y="1473"/>
                  <a:pt x="2926" y="1467"/>
                  <a:pt x="2937" y="1462"/>
                </a:cubicBezTo>
                <a:cubicBezTo>
                  <a:pt x="2936" y="1461"/>
                  <a:pt x="2936" y="1460"/>
                  <a:pt x="2935" y="1460"/>
                </a:cubicBezTo>
                <a:cubicBezTo>
                  <a:pt x="2925" y="1450"/>
                  <a:pt x="2970" y="1428"/>
                  <a:pt x="2978" y="1428"/>
                </a:cubicBezTo>
                <a:cubicBezTo>
                  <a:pt x="2986" y="1428"/>
                  <a:pt x="2984" y="1407"/>
                  <a:pt x="2984" y="1407"/>
                </a:cubicBezTo>
                <a:cubicBezTo>
                  <a:pt x="2984" y="1407"/>
                  <a:pt x="2987" y="1403"/>
                  <a:pt x="2991" y="1398"/>
                </a:cubicBezTo>
                <a:cubicBezTo>
                  <a:pt x="2991" y="1397"/>
                  <a:pt x="2990" y="1397"/>
                  <a:pt x="2990" y="1397"/>
                </a:cubicBezTo>
                <a:cubicBezTo>
                  <a:pt x="2984" y="1391"/>
                  <a:pt x="2997" y="1362"/>
                  <a:pt x="2995" y="1354"/>
                </a:cubicBezTo>
                <a:cubicBezTo>
                  <a:pt x="2993" y="1346"/>
                  <a:pt x="2979" y="1353"/>
                  <a:pt x="2973" y="1358"/>
                </a:cubicBezTo>
                <a:cubicBezTo>
                  <a:pt x="2967" y="1363"/>
                  <a:pt x="2939" y="1381"/>
                  <a:pt x="2937" y="1368"/>
                </a:cubicBezTo>
                <a:cubicBezTo>
                  <a:pt x="2936" y="1362"/>
                  <a:pt x="2960" y="1348"/>
                  <a:pt x="2963" y="1343"/>
                </a:cubicBezTo>
                <a:cubicBezTo>
                  <a:pt x="2966" y="1338"/>
                  <a:pt x="2977" y="1335"/>
                  <a:pt x="2986" y="1329"/>
                </a:cubicBezTo>
                <a:cubicBezTo>
                  <a:pt x="2995" y="1323"/>
                  <a:pt x="2987" y="1300"/>
                  <a:pt x="2987" y="1300"/>
                </a:cubicBezTo>
                <a:cubicBezTo>
                  <a:pt x="2987" y="1300"/>
                  <a:pt x="2990" y="1305"/>
                  <a:pt x="2998" y="1288"/>
                </a:cubicBezTo>
                <a:cubicBezTo>
                  <a:pt x="3006" y="1271"/>
                  <a:pt x="2986" y="1278"/>
                  <a:pt x="2977" y="1271"/>
                </a:cubicBezTo>
                <a:cubicBezTo>
                  <a:pt x="2968" y="1264"/>
                  <a:pt x="2968" y="1258"/>
                  <a:pt x="2968" y="1258"/>
                </a:cubicBezTo>
                <a:cubicBezTo>
                  <a:pt x="2968" y="1258"/>
                  <a:pt x="2965" y="1265"/>
                  <a:pt x="2960" y="1260"/>
                </a:cubicBezTo>
                <a:cubicBezTo>
                  <a:pt x="2955" y="1255"/>
                  <a:pt x="2961" y="1245"/>
                  <a:pt x="2961" y="1245"/>
                </a:cubicBezTo>
                <a:cubicBezTo>
                  <a:pt x="2985" y="1249"/>
                  <a:pt x="2985" y="1249"/>
                  <a:pt x="2985" y="1249"/>
                </a:cubicBezTo>
                <a:cubicBezTo>
                  <a:pt x="2985" y="1249"/>
                  <a:pt x="2989" y="1246"/>
                  <a:pt x="2986" y="1238"/>
                </a:cubicBezTo>
                <a:cubicBezTo>
                  <a:pt x="2985" y="1234"/>
                  <a:pt x="2989" y="1234"/>
                  <a:pt x="2994" y="1234"/>
                </a:cubicBezTo>
                <a:cubicBezTo>
                  <a:pt x="2998" y="1219"/>
                  <a:pt x="2998" y="1219"/>
                  <a:pt x="2998" y="1219"/>
                </a:cubicBezTo>
                <a:cubicBezTo>
                  <a:pt x="2985" y="1219"/>
                  <a:pt x="2985" y="1219"/>
                  <a:pt x="2985" y="1219"/>
                </a:cubicBezTo>
                <a:cubicBezTo>
                  <a:pt x="2983" y="1227"/>
                  <a:pt x="2983" y="1227"/>
                  <a:pt x="2983" y="1227"/>
                </a:cubicBezTo>
                <a:cubicBezTo>
                  <a:pt x="2967" y="1221"/>
                  <a:pt x="2967" y="1221"/>
                  <a:pt x="2967" y="1221"/>
                </a:cubicBezTo>
                <a:cubicBezTo>
                  <a:pt x="2966" y="1207"/>
                  <a:pt x="2966" y="1207"/>
                  <a:pt x="2966" y="1207"/>
                </a:cubicBezTo>
                <a:cubicBezTo>
                  <a:pt x="2957" y="1209"/>
                  <a:pt x="2957" y="1209"/>
                  <a:pt x="2957" y="1209"/>
                </a:cubicBezTo>
                <a:cubicBezTo>
                  <a:pt x="2946" y="1214"/>
                  <a:pt x="2946" y="1214"/>
                  <a:pt x="2946" y="1214"/>
                </a:cubicBezTo>
                <a:cubicBezTo>
                  <a:pt x="2910" y="1211"/>
                  <a:pt x="2910" y="1211"/>
                  <a:pt x="2910" y="1211"/>
                </a:cubicBezTo>
                <a:cubicBezTo>
                  <a:pt x="2910" y="1211"/>
                  <a:pt x="2897" y="1222"/>
                  <a:pt x="2876" y="1220"/>
                </a:cubicBezTo>
                <a:cubicBezTo>
                  <a:pt x="2855" y="1218"/>
                  <a:pt x="2860" y="1204"/>
                  <a:pt x="2856" y="1199"/>
                </a:cubicBezTo>
                <a:cubicBezTo>
                  <a:pt x="2852" y="1194"/>
                  <a:pt x="2832" y="1205"/>
                  <a:pt x="2829" y="1196"/>
                </a:cubicBezTo>
                <a:cubicBezTo>
                  <a:pt x="2866" y="1175"/>
                  <a:pt x="2866" y="1175"/>
                  <a:pt x="2866" y="1175"/>
                </a:cubicBezTo>
                <a:cubicBezTo>
                  <a:pt x="2866" y="1175"/>
                  <a:pt x="2861" y="1170"/>
                  <a:pt x="2854" y="1170"/>
                </a:cubicBezTo>
                <a:cubicBezTo>
                  <a:pt x="2847" y="1170"/>
                  <a:pt x="2833" y="1182"/>
                  <a:pt x="2829" y="1183"/>
                </a:cubicBezTo>
                <a:cubicBezTo>
                  <a:pt x="2825" y="1184"/>
                  <a:pt x="2803" y="1197"/>
                  <a:pt x="2789" y="1202"/>
                </a:cubicBezTo>
                <a:cubicBezTo>
                  <a:pt x="2775" y="1207"/>
                  <a:pt x="2759" y="1204"/>
                  <a:pt x="2759" y="1204"/>
                </a:cubicBezTo>
                <a:cubicBezTo>
                  <a:pt x="2753" y="1213"/>
                  <a:pt x="2753" y="1213"/>
                  <a:pt x="2753" y="1213"/>
                </a:cubicBezTo>
                <a:cubicBezTo>
                  <a:pt x="2753" y="1213"/>
                  <a:pt x="2729" y="1215"/>
                  <a:pt x="2720" y="1214"/>
                </a:cubicBezTo>
                <a:cubicBezTo>
                  <a:pt x="2711" y="1213"/>
                  <a:pt x="2735" y="1196"/>
                  <a:pt x="2735" y="1196"/>
                </a:cubicBezTo>
                <a:cubicBezTo>
                  <a:pt x="2735" y="1196"/>
                  <a:pt x="2725" y="1200"/>
                  <a:pt x="2706" y="1201"/>
                </a:cubicBezTo>
                <a:cubicBezTo>
                  <a:pt x="2687" y="1202"/>
                  <a:pt x="2685" y="1214"/>
                  <a:pt x="2668" y="1208"/>
                </a:cubicBezTo>
                <a:cubicBezTo>
                  <a:pt x="2651" y="1202"/>
                  <a:pt x="2744" y="1169"/>
                  <a:pt x="2756" y="1161"/>
                </a:cubicBezTo>
                <a:cubicBezTo>
                  <a:pt x="2768" y="1153"/>
                  <a:pt x="2783" y="1150"/>
                  <a:pt x="2802" y="1146"/>
                </a:cubicBezTo>
                <a:cubicBezTo>
                  <a:pt x="2807" y="1145"/>
                  <a:pt x="2811" y="1143"/>
                  <a:pt x="2815" y="1140"/>
                </a:cubicBezTo>
                <a:cubicBezTo>
                  <a:pt x="2787" y="1140"/>
                  <a:pt x="2790" y="1134"/>
                  <a:pt x="2790" y="1134"/>
                </a:cubicBezTo>
                <a:cubicBezTo>
                  <a:pt x="2760" y="1135"/>
                  <a:pt x="2760" y="1135"/>
                  <a:pt x="2760" y="1135"/>
                </a:cubicBezTo>
                <a:cubicBezTo>
                  <a:pt x="2760" y="1125"/>
                  <a:pt x="2760" y="1125"/>
                  <a:pt x="2760" y="1125"/>
                </a:cubicBezTo>
                <a:cubicBezTo>
                  <a:pt x="2760" y="1125"/>
                  <a:pt x="2744" y="1136"/>
                  <a:pt x="2738" y="1142"/>
                </a:cubicBezTo>
                <a:cubicBezTo>
                  <a:pt x="2732" y="1148"/>
                  <a:pt x="2719" y="1124"/>
                  <a:pt x="2716" y="1127"/>
                </a:cubicBezTo>
                <a:cubicBezTo>
                  <a:pt x="2713" y="1130"/>
                  <a:pt x="2706" y="1127"/>
                  <a:pt x="2700" y="1127"/>
                </a:cubicBezTo>
                <a:cubicBezTo>
                  <a:pt x="2694" y="1127"/>
                  <a:pt x="2691" y="1107"/>
                  <a:pt x="2678" y="1107"/>
                </a:cubicBezTo>
                <a:cubicBezTo>
                  <a:pt x="2665" y="1107"/>
                  <a:pt x="2667" y="1119"/>
                  <a:pt x="2659" y="1119"/>
                </a:cubicBezTo>
                <a:cubicBezTo>
                  <a:pt x="2651" y="1119"/>
                  <a:pt x="2644" y="1109"/>
                  <a:pt x="2644" y="1109"/>
                </a:cubicBezTo>
                <a:cubicBezTo>
                  <a:pt x="2644" y="1109"/>
                  <a:pt x="2625" y="1108"/>
                  <a:pt x="2617" y="1100"/>
                </a:cubicBezTo>
                <a:cubicBezTo>
                  <a:pt x="2608" y="1091"/>
                  <a:pt x="2633" y="1081"/>
                  <a:pt x="2623" y="1071"/>
                </a:cubicBezTo>
                <a:cubicBezTo>
                  <a:pt x="2613" y="1060"/>
                  <a:pt x="2599" y="1095"/>
                  <a:pt x="2599" y="1095"/>
                </a:cubicBezTo>
                <a:cubicBezTo>
                  <a:pt x="1457" y="1095"/>
                  <a:pt x="1457" y="1095"/>
                  <a:pt x="1457" y="1095"/>
                </a:cubicBezTo>
                <a:cubicBezTo>
                  <a:pt x="1456" y="1102"/>
                  <a:pt x="1454" y="1108"/>
                  <a:pt x="1453" y="1110"/>
                </a:cubicBezTo>
                <a:cubicBezTo>
                  <a:pt x="1449" y="1116"/>
                  <a:pt x="1448" y="1140"/>
                  <a:pt x="1448" y="1140"/>
                </a:cubicBezTo>
                <a:cubicBezTo>
                  <a:pt x="1426" y="1152"/>
                  <a:pt x="1426" y="1152"/>
                  <a:pt x="1426" y="1152"/>
                </a:cubicBezTo>
                <a:cubicBezTo>
                  <a:pt x="1424" y="1164"/>
                  <a:pt x="1424" y="1164"/>
                  <a:pt x="1424" y="1164"/>
                </a:cubicBezTo>
                <a:cubicBezTo>
                  <a:pt x="1413" y="1179"/>
                  <a:pt x="1413" y="1179"/>
                  <a:pt x="1413" y="1179"/>
                </a:cubicBezTo>
                <a:cubicBezTo>
                  <a:pt x="1381" y="1190"/>
                  <a:pt x="1381" y="1190"/>
                  <a:pt x="1381" y="1190"/>
                </a:cubicBezTo>
                <a:cubicBezTo>
                  <a:pt x="1404" y="1177"/>
                  <a:pt x="1404" y="1177"/>
                  <a:pt x="1404" y="1177"/>
                </a:cubicBezTo>
                <a:cubicBezTo>
                  <a:pt x="1389" y="1175"/>
                  <a:pt x="1389" y="1175"/>
                  <a:pt x="1389" y="1175"/>
                </a:cubicBezTo>
                <a:cubicBezTo>
                  <a:pt x="1389" y="1175"/>
                  <a:pt x="1403" y="1155"/>
                  <a:pt x="1407" y="1152"/>
                </a:cubicBezTo>
                <a:cubicBezTo>
                  <a:pt x="1411" y="1149"/>
                  <a:pt x="1431" y="1135"/>
                  <a:pt x="1421" y="1135"/>
                </a:cubicBezTo>
                <a:cubicBezTo>
                  <a:pt x="1411" y="1135"/>
                  <a:pt x="1402" y="1137"/>
                  <a:pt x="1392" y="1136"/>
                </a:cubicBezTo>
                <a:cubicBezTo>
                  <a:pt x="1382" y="1135"/>
                  <a:pt x="1373" y="1117"/>
                  <a:pt x="1364" y="1121"/>
                </a:cubicBezTo>
                <a:cubicBezTo>
                  <a:pt x="1355" y="1125"/>
                  <a:pt x="1346" y="1117"/>
                  <a:pt x="1344" y="1138"/>
                </a:cubicBezTo>
                <a:cubicBezTo>
                  <a:pt x="1342" y="1159"/>
                  <a:pt x="1344" y="1171"/>
                  <a:pt x="1341" y="1173"/>
                </a:cubicBezTo>
                <a:cubicBezTo>
                  <a:pt x="1338" y="1175"/>
                  <a:pt x="1328" y="1190"/>
                  <a:pt x="1328" y="1190"/>
                </a:cubicBezTo>
                <a:cubicBezTo>
                  <a:pt x="1346" y="1194"/>
                  <a:pt x="1346" y="1194"/>
                  <a:pt x="1346" y="1194"/>
                </a:cubicBezTo>
                <a:cubicBezTo>
                  <a:pt x="1327" y="1197"/>
                  <a:pt x="1327" y="1197"/>
                  <a:pt x="1327" y="1197"/>
                </a:cubicBezTo>
                <a:cubicBezTo>
                  <a:pt x="1330" y="1208"/>
                  <a:pt x="1330" y="1208"/>
                  <a:pt x="1330" y="1208"/>
                </a:cubicBezTo>
                <a:cubicBezTo>
                  <a:pt x="1319" y="1225"/>
                  <a:pt x="1319" y="1225"/>
                  <a:pt x="1319" y="1225"/>
                </a:cubicBezTo>
                <a:cubicBezTo>
                  <a:pt x="1319" y="1225"/>
                  <a:pt x="1340" y="1233"/>
                  <a:pt x="1339" y="1237"/>
                </a:cubicBezTo>
                <a:cubicBezTo>
                  <a:pt x="1338" y="1241"/>
                  <a:pt x="1307" y="1235"/>
                  <a:pt x="1307" y="1235"/>
                </a:cubicBezTo>
                <a:cubicBezTo>
                  <a:pt x="1307" y="1235"/>
                  <a:pt x="1268" y="1295"/>
                  <a:pt x="1258" y="1307"/>
                </a:cubicBezTo>
                <a:cubicBezTo>
                  <a:pt x="1248" y="1319"/>
                  <a:pt x="1201" y="1375"/>
                  <a:pt x="1201" y="1375"/>
                </a:cubicBezTo>
                <a:cubicBezTo>
                  <a:pt x="1203" y="1390"/>
                  <a:pt x="1203" y="1390"/>
                  <a:pt x="1203" y="1390"/>
                </a:cubicBezTo>
                <a:cubicBezTo>
                  <a:pt x="1203" y="1390"/>
                  <a:pt x="1190" y="1392"/>
                  <a:pt x="1179" y="1404"/>
                </a:cubicBezTo>
                <a:cubicBezTo>
                  <a:pt x="1168" y="1416"/>
                  <a:pt x="1168" y="1434"/>
                  <a:pt x="1168" y="1434"/>
                </a:cubicBezTo>
                <a:cubicBezTo>
                  <a:pt x="1155" y="1447"/>
                  <a:pt x="1155" y="1447"/>
                  <a:pt x="1155" y="1447"/>
                </a:cubicBezTo>
                <a:cubicBezTo>
                  <a:pt x="1152" y="1481"/>
                  <a:pt x="1152" y="1481"/>
                  <a:pt x="1152" y="1481"/>
                </a:cubicBezTo>
                <a:cubicBezTo>
                  <a:pt x="1152" y="1481"/>
                  <a:pt x="1128" y="1513"/>
                  <a:pt x="1122" y="1519"/>
                </a:cubicBezTo>
                <a:cubicBezTo>
                  <a:pt x="1116" y="1525"/>
                  <a:pt x="1095" y="1537"/>
                  <a:pt x="1097" y="1548"/>
                </a:cubicBezTo>
                <a:cubicBezTo>
                  <a:pt x="1099" y="1559"/>
                  <a:pt x="1115" y="1566"/>
                  <a:pt x="1112" y="1576"/>
                </a:cubicBezTo>
                <a:cubicBezTo>
                  <a:pt x="1109" y="1586"/>
                  <a:pt x="1089" y="1610"/>
                  <a:pt x="1089" y="1622"/>
                </a:cubicBezTo>
                <a:cubicBezTo>
                  <a:pt x="1089" y="1634"/>
                  <a:pt x="1102" y="1675"/>
                  <a:pt x="1102" y="1675"/>
                </a:cubicBezTo>
                <a:cubicBezTo>
                  <a:pt x="1118" y="1665"/>
                  <a:pt x="1118" y="1665"/>
                  <a:pt x="1118" y="1665"/>
                </a:cubicBezTo>
                <a:cubicBezTo>
                  <a:pt x="1163" y="1669"/>
                  <a:pt x="1163" y="1669"/>
                  <a:pt x="1163" y="1669"/>
                </a:cubicBezTo>
                <a:cubicBezTo>
                  <a:pt x="1163" y="1669"/>
                  <a:pt x="1125" y="1669"/>
                  <a:pt x="1122" y="1675"/>
                </a:cubicBezTo>
                <a:cubicBezTo>
                  <a:pt x="1119" y="1681"/>
                  <a:pt x="1120" y="1695"/>
                  <a:pt x="1120" y="1695"/>
                </a:cubicBezTo>
                <a:cubicBezTo>
                  <a:pt x="1120" y="1695"/>
                  <a:pt x="1109" y="1680"/>
                  <a:pt x="1105" y="1686"/>
                </a:cubicBezTo>
                <a:cubicBezTo>
                  <a:pt x="1101" y="1692"/>
                  <a:pt x="1091" y="1711"/>
                  <a:pt x="1096" y="1719"/>
                </a:cubicBezTo>
                <a:cubicBezTo>
                  <a:pt x="1101" y="1727"/>
                  <a:pt x="1114" y="1727"/>
                  <a:pt x="1114" y="1727"/>
                </a:cubicBezTo>
                <a:cubicBezTo>
                  <a:pt x="1114" y="1727"/>
                  <a:pt x="1112" y="1748"/>
                  <a:pt x="1109" y="1748"/>
                </a:cubicBezTo>
                <a:cubicBezTo>
                  <a:pt x="1106" y="1748"/>
                  <a:pt x="1096" y="1760"/>
                  <a:pt x="1096" y="1769"/>
                </a:cubicBezTo>
                <a:cubicBezTo>
                  <a:pt x="1096" y="1778"/>
                  <a:pt x="1109" y="1793"/>
                  <a:pt x="1109" y="1793"/>
                </a:cubicBezTo>
                <a:cubicBezTo>
                  <a:pt x="1109" y="1793"/>
                  <a:pt x="1129" y="1823"/>
                  <a:pt x="1128" y="1830"/>
                </a:cubicBezTo>
                <a:cubicBezTo>
                  <a:pt x="1127" y="1837"/>
                  <a:pt x="1105" y="1859"/>
                  <a:pt x="1117" y="1863"/>
                </a:cubicBezTo>
                <a:cubicBezTo>
                  <a:pt x="1129" y="1867"/>
                  <a:pt x="1154" y="1867"/>
                  <a:pt x="1154" y="1867"/>
                </a:cubicBezTo>
                <a:cubicBezTo>
                  <a:pt x="1154" y="1867"/>
                  <a:pt x="1156" y="1888"/>
                  <a:pt x="1168" y="1888"/>
                </a:cubicBezTo>
                <a:cubicBezTo>
                  <a:pt x="1180" y="1888"/>
                  <a:pt x="1197" y="1882"/>
                  <a:pt x="1197" y="1882"/>
                </a:cubicBezTo>
                <a:cubicBezTo>
                  <a:pt x="1200" y="1901"/>
                  <a:pt x="1200" y="1901"/>
                  <a:pt x="1200" y="1901"/>
                </a:cubicBezTo>
                <a:cubicBezTo>
                  <a:pt x="1200" y="1901"/>
                  <a:pt x="1232" y="1912"/>
                  <a:pt x="1232" y="1927"/>
                </a:cubicBezTo>
                <a:cubicBezTo>
                  <a:pt x="1232" y="1935"/>
                  <a:pt x="1229" y="1949"/>
                  <a:pt x="1227" y="1961"/>
                </a:cubicBezTo>
                <a:cubicBezTo>
                  <a:pt x="1230" y="1963"/>
                  <a:pt x="1230" y="1963"/>
                  <a:pt x="1230" y="1963"/>
                </a:cubicBezTo>
                <a:cubicBezTo>
                  <a:pt x="1329" y="1959"/>
                  <a:pt x="1329" y="1959"/>
                  <a:pt x="1329" y="1959"/>
                </a:cubicBezTo>
                <a:cubicBezTo>
                  <a:pt x="1319" y="1969"/>
                  <a:pt x="1329" y="1969"/>
                  <a:pt x="1329" y="1969"/>
                </a:cubicBezTo>
                <a:cubicBezTo>
                  <a:pt x="1469" y="2033"/>
                  <a:pt x="1469" y="2033"/>
                  <a:pt x="1469" y="2033"/>
                </a:cubicBezTo>
                <a:cubicBezTo>
                  <a:pt x="1601" y="2031"/>
                  <a:pt x="1601" y="2031"/>
                  <a:pt x="1601" y="2031"/>
                </a:cubicBezTo>
                <a:cubicBezTo>
                  <a:pt x="1601" y="2031"/>
                  <a:pt x="1601" y="2031"/>
                  <a:pt x="1605" y="2028"/>
                </a:cubicBezTo>
                <a:cubicBezTo>
                  <a:pt x="1608" y="2024"/>
                  <a:pt x="1606" y="2020"/>
                  <a:pt x="1606" y="2014"/>
                </a:cubicBezTo>
                <a:cubicBezTo>
                  <a:pt x="1606" y="2008"/>
                  <a:pt x="1613" y="2004"/>
                  <a:pt x="1613" y="2004"/>
                </a:cubicBezTo>
                <a:cubicBezTo>
                  <a:pt x="1686" y="2004"/>
                  <a:pt x="1686" y="2004"/>
                  <a:pt x="1686" y="2004"/>
                </a:cubicBezTo>
                <a:cubicBezTo>
                  <a:pt x="1701" y="2019"/>
                  <a:pt x="1696" y="2027"/>
                  <a:pt x="1696" y="2027"/>
                </a:cubicBezTo>
                <a:cubicBezTo>
                  <a:pt x="1714" y="2035"/>
                  <a:pt x="1714" y="2035"/>
                  <a:pt x="1714" y="2035"/>
                </a:cubicBezTo>
                <a:cubicBezTo>
                  <a:pt x="1720" y="2056"/>
                  <a:pt x="1720" y="2056"/>
                  <a:pt x="1720" y="2056"/>
                </a:cubicBezTo>
                <a:cubicBezTo>
                  <a:pt x="1720" y="2056"/>
                  <a:pt x="1731" y="2057"/>
                  <a:pt x="1742" y="2068"/>
                </a:cubicBezTo>
                <a:cubicBezTo>
                  <a:pt x="1752" y="2078"/>
                  <a:pt x="1742" y="2120"/>
                  <a:pt x="1742" y="2120"/>
                </a:cubicBezTo>
                <a:cubicBezTo>
                  <a:pt x="1742" y="2120"/>
                  <a:pt x="1773" y="2154"/>
                  <a:pt x="1792" y="2154"/>
                </a:cubicBezTo>
                <a:cubicBezTo>
                  <a:pt x="1811" y="2154"/>
                  <a:pt x="1824" y="2120"/>
                  <a:pt x="1828" y="2116"/>
                </a:cubicBezTo>
                <a:cubicBezTo>
                  <a:pt x="1832" y="2112"/>
                  <a:pt x="1844" y="2113"/>
                  <a:pt x="1844" y="2113"/>
                </a:cubicBezTo>
                <a:cubicBezTo>
                  <a:pt x="1845" y="2107"/>
                  <a:pt x="1845" y="2107"/>
                  <a:pt x="1845" y="2107"/>
                </a:cubicBezTo>
                <a:cubicBezTo>
                  <a:pt x="1855" y="2112"/>
                  <a:pt x="1855" y="2112"/>
                  <a:pt x="1855" y="2112"/>
                </a:cubicBezTo>
                <a:cubicBezTo>
                  <a:pt x="1884" y="2113"/>
                  <a:pt x="1884" y="2113"/>
                  <a:pt x="1884" y="2113"/>
                </a:cubicBezTo>
                <a:cubicBezTo>
                  <a:pt x="1884" y="2113"/>
                  <a:pt x="1904" y="2144"/>
                  <a:pt x="1912" y="2152"/>
                </a:cubicBezTo>
                <a:cubicBezTo>
                  <a:pt x="1920" y="2160"/>
                  <a:pt x="1912" y="2175"/>
                  <a:pt x="1912" y="2184"/>
                </a:cubicBezTo>
                <a:cubicBezTo>
                  <a:pt x="1912" y="2193"/>
                  <a:pt x="1923" y="2200"/>
                  <a:pt x="1923" y="2200"/>
                </a:cubicBezTo>
                <a:cubicBezTo>
                  <a:pt x="1923" y="2200"/>
                  <a:pt x="1924" y="2206"/>
                  <a:pt x="1924" y="2213"/>
                </a:cubicBezTo>
                <a:cubicBezTo>
                  <a:pt x="1924" y="2221"/>
                  <a:pt x="1933" y="2222"/>
                  <a:pt x="1940" y="2229"/>
                </a:cubicBezTo>
                <a:cubicBezTo>
                  <a:pt x="1947" y="2236"/>
                  <a:pt x="1937" y="2239"/>
                  <a:pt x="1937" y="2239"/>
                </a:cubicBezTo>
                <a:cubicBezTo>
                  <a:pt x="1937" y="2266"/>
                  <a:pt x="1937" y="2266"/>
                  <a:pt x="1937" y="2266"/>
                </a:cubicBezTo>
                <a:cubicBezTo>
                  <a:pt x="1945" y="2272"/>
                  <a:pt x="1945" y="2272"/>
                  <a:pt x="1945" y="2272"/>
                </a:cubicBezTo>
                <a:cubicBezTo>
                  <a:pt x="1945" y="2272"/>
                  <a:pt x="1943" y="2280"/>
                  <a:pt x="1943" y="2291"/>
                </a:cubicBezTo>
                <a:cubicBezTo>
                  <a:pt x="1943" y="2302"/>
                  <a:pt x="1973" y="2303"/>
                  <a:pt x="1973" y="2303"/>
                </a:cubicBezTo>
                <a:cubicBezTo>
                  <a:pt x="1979" y="2314"/>
                  <a:pt x="1979" y="2314"/>
                  <a:pt x="1979" y="2314"/>
                </a:cubicBezTo>
                <a:cubicBezTo>
                  <a:pt x="1979" y="2314"/>
                  <a:pt x="1998" y="2314"/>
                  <a:pt x="2003" y="2314"/>
                </a:cubicBezTo>
                <a:cubicBezTo>
                  <a:pt x="2008" y="2314"/>
                  <a:pt x="2006" y="2324"/>
                  <a:pt x="2017" y="2324"/>
                </a:cubicBezTo>
                <a:cubicBezTo>
                  <a:pt x="2022" y="2324"/>
                  <a:pt x="2026" y="2323"/>
                  <a:pt x="2029" y="2322"/>
                </a:cubicBezTo>
                <a:cubicBezTo>
                  <a:pt x="2019" y="2273"/>
                  <a:pt x="2019" y="2273"/>
                  <a:pt x="2019" y="2273"/>
                </a:cubicBezTo>
                <a:cubicBezTo>
                  <a:pt x="2031" y="2262"/>
                  <a:pt x="2031" y="2262"/>
                  <a:pt x="2031" y="2262"/>
                </a:cubicBezTo>
                <a:cubicBezTo>
                  <a:pt x="2018" y="2253"/>
                  <a:pt x="2018" y="2253"/>
                  <a:pt x="2018" y="2253"/>
                </a:cubicBezTo>
                <a:cubicBezTo>
                  <a:pt x="2018" y="2240"/>
                  <a:pt x="2018" y="2240"/>
                  <a:pt x="2018" y="2240"/>
                </a:cubicBezTo>
                <a:cubicBezTo>
                  <a:pt x="2018" y="2240"/>
                  <a:pt x="2036" y="2252"/>
                  <a:pt x="2039" y="2240"/>
                </a:cubicBezTo>
                <a:cubicBezTo>
                  <a:pt x="2042" y="2228"/>
                  <a:pt x="2039" y="2219"/>
                  <a:pt x="2039" y="2219"/>
                </a:cubicBezTo>
                <a:cubicBezTo>
                  <a:pt x="2055" y="2217"/>
                  <a:pt x="2055" y="2217"/>
                  <a:pt x="2055" y="2217"/>
                </a:cubicBezTo>
                <a:cubicBezTo>
                  <a:pt x="2060" y="2199"/>
                  <a:pt x="2060" y="2199"/>
                  <a:pt x="2060" y="2199"/>
                </a:cubicBezTo>
                <a:cubicBezTo>
                  <a:pt x="2070" y="2204"/>
                  <a:pt x="2070" y="2204"/>
                  <a:pt x="2070" y="2204"/>
                </a:cubicBezTo>
                <a:cubicBezTo>
                  <a:pt x="2083" y="2197"/>
                  <a:pt x="2083" y="2197"/>
                  <a:pt x="2083" y="2197"/>
                </a:cubicBezTo>
                <a:cubicBezTo>
                  <a:pt x="2078" y="2181"/>
                  <a:pt x="2078" y="2181"/>
                  <a:pt x="2078" y="2181"/>
                </a:cubicBezTo>
                <a:cubicBezTo>
                  <a:pt x="2088" y="2188"/>
                  <a:pt x="2088" y="2188"/>
                  <a:pt x="2088" y="2188"/>
                </a:cubicBezTo>
                <a:cubicBezTo>
                  <a:pt x="2088" y="2188"/>
                  <a:pt x="2092" y="2166"/>
                  <a:pt x="2098" y="2170"/>
                </a:cubicBezTo>
                <a:cubicBezTo>
                  <a:pt x="2104" y="2174"/>
                  <a:pt x="2105" y="2185"/>
                  <a:pt x="2111" y="2182"/>
                </a:cubicBezTo>
                <a:cubicBezTo>
                  <a:pt x="2117" y="2179"/>
                  <a:pt x="2145" y="2171"/>
                  <a:pt x="2153" y="2163"/>
                </a:cubicBezTo>
                <a:cubicBezTo>
                  <a:pt x="2161" y="2155"/>
                  <a:pt x="2175" y="2136"/>
                  <a:pt x="2175" y="2136"/>
                </a:cubicBezTo>
                <a:cubicBezTo>
                  <a:pt x="2175" y="2136"/>
                  <a:pt x="2167" y="2113"/>
                  <a:pt x="2177" y="2112"/>
                </a:cubicBezTo>
                <a:cubicBezTo>
                  <a:pt x="2187" y="2111"/>
                  <a:pt x="2198" y="2135"/>
                  <a:pt x="2210" y="2128"/>
                </a:cubicBezTo>
                <a:cubicBezTo>
                  <a:pt x="2222" y="2121"/>
                  <a:pt x="2226" y="2093"/>
                  <a:pt x="2232" y="2100"/>
                </a:cubicBezTo>
                <a:cubicBezTo>
                  <a:pt x="2238" y="2107"/>
                  <a:pt x="2241" y="2113"/>
                  <a:pt x="2246" y="2113"/>
                </a:cubicBezTo>
                <a:cubicBezTo>
                  <a:pt x="2251" y="2113"/>
                  <a:pt x="2262" y="2097"/>
                  <a:pt x="2262" y="2097"/>
                </a:cubicBezTo>
                <a:cubicBezTo>
                  <a:pt x="2262" y="2097"/>
                  <a:pt x="2281" y="2128"/>
                  <a:pt x="2295" y="2126"/>
                </a:cubicBezTo>
                <a:cubicBezTo>
                  <a:pt x="2309" y="2124"/>
                  <a:pt x="2311" y="2093"/>
                  <a:pt x="2327" y="2109"/>
                </a:cubicBezTo>
                <a:cubicBezTo>
                  <a:pt x="2343" y="2125"/>
                  <a:pt x="2335" y="2143"/>
                  <a:pt x="2345" y="2143"/>
                </a:cubicBezTo>
                <a:cubicBezTo>
                  <a:pt x="2355" y="2143"/>
                  <a:pt x="2371" y="2150"/>
                  <a:pt x="2371" y="2150"/>
                </a:cubicBezTo>
                <a:cubicBezTo>
                  <a:pt x="2371" y="2150"/>
                  <a:pt x="2370" y="2134"/>
                  <a:pt x="2377" y="2139"/>
                </a:cubicBezTo>
                <a:cubicBezTo>
                  <a:pt x="2384" y="2144"/>
                  <a:pt x="2392" y="2163"/>
                  <a:pt x="2397" y="2151"/>
                </a:cubicBezTo>
                <a:cubicBezTo>
                  <a:pt x="2402" y="2139"/>
                  <a:pt x="2395" y="2124"/>
                  <a:pt x="2395" y="2124"/>
                </a:cubicBezTo>
                <a:cubicBezTo>
                  <a:pt x="2409" y="2129"/>
                  <a:pt x="2409" y="2129"/>
                  <a:pt x="2409" y="2129"/>
                </a:cubicBezTo>
                <a:cubicBezTo>
                  <a:pt x="2414" y="2140"/>
                  <a:pt x="2414" y="2140"/>
                  <a:pt x="2414" y="2140"/>
                </a:cubicBezTo>
                <a:cubicBezTo>
                  <a:pt x="2424" y="2143"/>
                  <a:pt x="2424" y="2143"/>
                  <a:pt x="2424" y="2143"/>
                </a:cubicBezTo>
                <a:cubicBezTo>
                  <a:pt x="2424" y="2152"/>
                  <a:pt x="2424" y="2152"/>
                  <a:pt x="2424" y="2152"/>
                </a:cubicBezTo>
                <a:cubicBezTo>
                  <a:pt x="2424" y="2152"/>
                  <a:pt x="2448" y="2159"/>
                  <a:pt x="2443" y="2147"/>
                </a:cubicBezTo>
                <a:cubicBezTo>
                  <a:pt x="2438" y="2135"/>
                  <a:pt x="2424" y="2130"/>
                  <a:pt x="2424" y="2130"/>
                </a:cubicBezTo>
                <a:cubicBezTo>
                  <a:pt x="2418" y="2120"/>
                  <a:pt x="2418" y="2120"/>
                  <a:pt x="2418" y="2120"/>
                </a:cubicBezTo>
                <a:cubicBezTo>
                  <a:pt x="2418" y="2120"/>
                  <a:pt x="2438" y="2117"/>
                  <a:pt x="2436" y="2109"/>
                </a:cubicBezTo>
                <a:cubicBezTo>
                  <a:pt x="2434" y="2101"/>
                  <a:pt x="2432" y="2099"/>
                  <a:pt x="2423" y="2100"/>
                </a:cubicBezTo>
                <a:cubicBezTo>
                  <a:pt x="2414" y="2101"/>
                  <a:pt x="2387" y="2104"/>
                  <a:pt x="2396" y="2090"/>
                </a:cubicBezTo>
                <a:cubicBezTo>
                  <a:pt x="2405" y="2076"/>
                  <a:pt x="2414" y="2087"/>
                  <a:pt x="2425" y="2090"/>
                </a:cubicBezTo>
                <a:cubicBezTo>
                  <a:pt x="2436" y="2093"/>
                  <a:pt x="2444" y="2091"/>
                  <a:pt x="2454" y="2084"/>
                </a:cubicBezTo>
                <a:cubicBezTo>
                  <a:pt x="2464" y="2077"/>
                  <a:pt x="2475" y="2077"/>
                  <a:pt x="2475" y="2077"/>
                </a:cubicBezTo>
                <a:cubicBezTo>
                  <a:pt x="2476" y="2081"/>
                  <a:pt x="2476" y="2081"/>
                  <a:pt x="2476" y="2081"/>
                </a:cubicBezTo>
                <a:cubicBezTo>
                  <a:pt x="2476" y="2081"/>
                  <a:pt x="2506" y="2081"/>
                  <a:pt x="2506" y="2074"/>
                </a:cubicBezTo>
                <a:cubicBezTo>
                  <a:pt x="2506" y="2067"/>
                  <a:pt x="2512" y="2052"/>
                  <a:pt x="2515" y="2057"/>
                </a:cubicBezTo>
                <a:cubicBezTo>
                  <a:pt x="2518" y="2062"/>
                  <a:pt x="2518" y="2084"/>
                  <a:pt x="2518" y="2084"/>
                </a:cubicBezTo>
                <a:cubicBezTo>
                  <a:pt x="2518" y="2084"/>
                  <a:pt x="2551" y="2072"/>
                  <a:pt x="2560" y="2073"/>
                </a:cubicBezTo>
                <a:cubicBezTo>
                  <a:pt x="2569" y="2074"/>
                  <a:pt x="2576" y="2084"/>
                  <a:pt x="2576" y="2084"/>
                </a:cubicBezTo>
                <a:cubicBezTo>
                  <a:pt x="2576" y="2084"/>
                  <a:pt x="2573" y="2068"/>
                  <a:pt x="2583" y="2072"/>
                </a:cubicBezTo>
                <a:cubicBezTo>
                  <a:pt x="2593" y="2076"/>
                  <a:pt x="2593" y="2090"/>
                  <a:pt x="2593" y="2090"/>
                </a:cubicBezTo>
                <a:cubicBezTo>
                  <a:pt x="2613" y="2085"/>
                  <a:pt x="2613" y="2085"/>
                  <a:pt x="2613" y="2085"/>
                </a:cubicBezTo>
                <a:cubicBezTo>
                  <a:pt x="2609" y="2093"/>
                  <a:pt x="2609" y="2093"/>
                  <a:pt x="2609" y="2093"/>
                </a:cubicBezTo>
                <a:cubicBezTo>
                  <a:pt x="2609" y="2093"/>
                  <a:pt x="2610" y="2125"/>
                  <a:pt x="2628" y="2121"/>
                </a:cubicBezTo>
                <a:cubicBezTo>
                  <a:pt x="2646" y="2117"/>
                  <a:pt x="2659" y="2091"/>
                  <a:pt x="2677" y="2095"/>
                </a:cubicBezTo>
                <a:cubicBezTo>
                  <a:pt x="2695" y="2099"/>
                  <a:pt x="2696" y="2133"/>
                  <a:pt x="2705" y="2139"/>
                </a:cubicBezTo>
                <a:cubicBezTo>
                  <a:pt x="2714" y="2145"/>
                  <a:pt x="2732" y="2145"/>
                  <a:pt x="2732" y="2145"/>
                </a:cubicBezTo>
                <a:cubicBezTo>
                  <a:pt x="2729" y="2171"/>
                  <a:pt x="2729" y="2171"/>
                  <a:pt x="2729" y="2171"/>
                </a:cubicBezTo>
                <a:cubicBezTo>
                  <a:pt x="2729" y="2171"/>
                  <a:pt x="2710" y="2199"/>
                  <a:pt x="2712" y="2207"/>
                </a:cubicBezTo>
                <a:cubicBezTo>
                  <a:pt x="2714" y="2215"/>
                  <a:pt x="2724" y="2216"/>
                  <a:pt x="2724" y="2216"/>
                </a:cubicBezTo>
                <a:cubicBezTo>
                  <a:pt x="2729" y="2226"/>
                  <a:pt x="2729" y="2226"/>
                  <a:pt x="2729" y="2226"/>
                </a:cubicBezTo>
                <a:cubicBezTo>
                  <a:pt x="2710" y="2239"/>
                  <a:pt x="2710" y="2239"/>
                  <a:pt x="2710" y="2239"/>
                </a:cubicBezTo>
                <a:cubicBezTo>
                  <a:pt x="2723" y="2272"/>
                  <a:pt x="2723" y="2272"/>
                  <a:pt x="2723" y="2272"/>
                </a:cubicBezTo>
                <a:cubicBezTo>
                  <a:pt x="2723" y="2272"/>
                  <a:pt x="2738" y="2253"/>
                  <a:pt x="2739" y="2259"/>
                </a:cubicBezTo>
                <a:cubicBezTo>
                  <a:pt x="2740" y="2265"/>
                  <a:pt x="2728" y="2290"/>
                  <a:pt x="2728" y="2290"/>
                </a:cubicBezTo>
                <a:cubicBezTo>
                  <a:pt x="2738" y="2287"/>
                  <a:pt x="2738" y="2287"/>
                  <a:pt x="2738" y="2287"/>
                </a:cubicBezTo>
                <a:cubicBezTo>
                  <a:pt x="2741" y="2319"/>
                  <a:pt x="2741" y="2319"/>
                  <a:pt x="2741" y="2319"/>
                </a:cubicBezTo>
                <a:cubicBezTo>
                  <a:pt x="2741" y="2319"/>
                  <a:pt x="2758" y="2319"/>
                  <a:pt x="2758" y="2325"/>
                </a:cubicBezTo>
                <a:cubicBezTo>
                  <a:pt x="2758" y="2331"/>
                  <a:pt x="2755" y="2347"/>
                  <a:pt x="2755" y="2347"/>
                </a:cubicBezTo>
                <a:cubicBezTo>
                  <a:pt x="2770" y="2364"/>
                  <a:pt x="2770" y="2364"/>
                  <a:pt x="2770" y="2364"/>
                </a:cubicBezTo>
                <a:cubicBezTo>
                  <a:pt x="2770" y="2364"/>
                  <a:pt x="2794" y="2358"/>
                  <a:pt x="2796" y="2351"/>
                </a:cubicBezTo>
                <a:cubicBezTo>
                  <a:pt x="2798" y="2344"/>
                  <a:pt x="2800" y="2331"/>
                  <a:pt x="2800" y="2331"/>
                </a:cubicBezTo>
                <a:cubicBezTo>
                  <a:pt x="2812" y="2331"/>
                  <a:pt x="2812" y="2331"/>
                  <a:pt x="2812" y="2331"/>
                </a:cubicBezTo>
                <a:cubicBezTo>
                  <a:pt x="2812" y="2331"/>
                  <a:pt x="2811" y="2310"/>
                  <a:pt x="2818" y="2300"/>
                </a:cubicBezTo>
                <a:cubicBezTo>
                  <a:pt x="2825" y="2290"/>
                  <a:pt x="2829" y="2273"/>
                  <a:pt x="2826" y="2263"/>
                </a:cubicBezTo>
                <a:cubicBezTo>
                  <a:pt x="2823" y="2253"/>
                  <a:pt x="2813" y="2220"/>
                  <a:pt x="2813" y="2211"/>
                </a:cubicBezTo>
                <a:cubicBezTo>
                  <a:pt x="2813" y="2202"/>
                  <a:pt x="2819" y="2188"/>
                  <a:pt x="2819" y="2172"/>
                </a:cubicBezTo>
                <a:cubicBezTo>
                  <a:pt x="2819" y="2156"/>
                  <a:pt x="2799" y="2130"/>
                  <a:pt x="2803" y="2116"/>
                </a:cubicBezTo>
                <a:cubicBezTo>
                  <a:pt x="2807" y="2102"/>
                  <a:pt x="2799" y="2062"/>
                  <a:pt x="2811" y="2047"/>
                </a:cubicBezTo>
                <a:cubicBezTo>
                  <a:pt x="2823" y="2032"/>
                  <a:pt x="2831" y="2008"/>
                  <a:pt x="2831" y="2008"/>
                </a:cubicBezTo>
                <a:cubicBezTo>
                  <a:pt x="2841" y="2002"/>
                  <a:pt x="2841" y="2002"/>
                  <a:pt x="2841" y="2002"/>
                </a:cubicBezTo>
                <a:cubicBezTo>
                  <a:pt x="2854" y="1989"/>
                  <a:pt x="2854" y="1989"/>
                  <a:pt x="2854" y="1989"/>
                </a:cubicBezTo>
                <a:cubicBezTo>
                  <a:pt x="2860" y="1973"/>
                  <a:pt x="2860" y="1973"/>
                  <a:pt x="2860" y="1973"/>
                </a:cubicBezTo>
                <a:cubicBezTo>
                  <a:pt x="2869" y="1979"/>
                  <a:pt x="2869" y="1979"/>
                  <a:pt x="2869" y="1979"/>
                </a:cubicBezTo>
                <a:cubicBezTo>
                  <a:pt x="2872" y="1965"/>
                  <a:pt x="2872" y="1965"/>
                  <a:pt x="2872" y="1965"/>
                </a:cubicBezTo>
                <a:cubicBezTo>
                  <a:pt x="2872" y="1965"/>
                  <a:pt x="2902" y="1969"/>
                  <a:pt x="2907" y="1963"/>
                </a:cubicBezTo>
                <a:cubicBezTo>
                  <a:pt x="2912" y="1957"/>
                  <a:pt x="2908" y="1946"/>
                  <a:pt x="2908" y="1946"/>
                </a:cubicBezTo>
                <a:cubicBezTo>
                  <a:pt x="2921" y="1947"/>
                  <a:pt x="2921" y="1947"/>
                  <a:pt x="2921" y="1947"/>
                </a:cubicBezTo>
                <a:cubicBezTo>
                  <a:pt x="2925" y="1941"/>
                  <a:pt x="2925" y="1941"/>
                  <a:pt x="2925" y="1941"/>
                </a:cubicBezTo>
                <a:cubicBezTo>
                  <a:pt x="2936" y="1940"/>
                  <a:pt x="2936" y="1940"/>
                  <a:pt x="2936" y="1940"/>
                </a:cubicBezTo>
                <a:cubicBezTo>
                  <a:pt x="2953" y="1919"/>
                  <a:pt x="2953" y="1919"/>
                  <a:pt x="2953" y="1919"/>
                </a:cubicBezTo>
                <a:cubicBezTo>
                  <a:pt x="2953" y="1919"/>
                  <a:pt x="2957" y="1899"/>
                  <a:pt x="2976" y="1894"/>
                </a:cubicBezTo>
                <a:cubicBezTo>
                  <a:pt x="2995" y="1889"/>
                  <a:pt x="3006" y="1900"/>
                  <a:pt x="3015" y="1891"/>
                </a:cubicBezTo>
                <a:cubicBezTo>
                  <a:pt x="3024" y="1882"/>
                  <a:pt x="3030" y="1865"/>
                  <a:pt x="3030" y="1865"/>
                </a:cubicBezTo>
                <a:cubicBezTo>
                  <a:pt x="3040" y="1867"/>
                  <a:pt x="3040" y="1867"/>
                  <a:pt x="3040" y="1867"/>
                </a:cubicBezTo>
                <a:cubicBezTo>
                  <a:pt x="3045" y="1852"/>
                  <a:pt x="3045" y="1852"/>
                  <a:pt x="3045" y="1852"/>
                </a:cubicBezTo>
                <a:cubicBezTo>
                  <a:pt x="3099" y="1849"/>
                  <a:pt x="3099" y="1849"/>
                  <a:pt x="3099" y="1849"/>
                </a:cubicBezTo>
                <a:cubicBezTo>
                  <a:pt x="3102" y="1833"/>
                  <a:pt x="3102" y="1833"/>
                  <a:pt x="3102" y="1833"/>
                </a:cubicBezTo>
                <a:cubicBezTo>
                  <a:pt x="3077" y="1835"/>
                  <a:pt x="3077" y="1835"/>
                  <a:pt x="3077" y="1835"/>
                </a:cubicBezTo>
                <a:cubicBezTo>
                  <a:pt x="3077" y="1835"/>
                  <a:pt x="3091" y="1830"/>
                  <a:pt x="3090" y="1823"/>
                </a:cubicBezTo>
                <a:cubicBezTo>
                  <a:pt x="3089" y="1816"/>
                  <a:pt x="3079" y="1809"/>
                  <a:pt x="3079" y="1809"/>
                </a:cubicBezTo>
                <a:cubicBezTo>
                  <a:pt x="3102" y="1805"/>
                  <a:pt x="3102" y="1805"/>
                  <a:pt x="3102" y="1805"/>
                </a:cubicBezTo>
                <a:cubicBezTo>
                  <a:pt x="3118" y="1811"/>
                  <a:pt x="3118" y="1811"/>
                  <a:pt x="3118" y="1811"/>
                </a:cubicBezTo>
                <a:cubicBezTo>
                  <a:pt x="3141" y="1787"/>
                  <a:pt x="3141" y="1787"/>
                  <a:pt x="3141" y="1787"/>
                </a:cubicBezTo>
                <a:cubicBezTo>
                  <a:pt x="3104" y="1786"/>
                  <a:pt x="3104" y="1786"/>
                  <a:pt x="3104" y="1786"/>
                </a:cubicBezTo>
                <a:cubicBezTo>
                  <a:pt x="3102" y="1769"/>
                  <a:pt x="3102" y="1769"/>
                  <a:pt x="3102" y="1769"/>
                </a:cubicBezTo>
                <a:cubicBezTo>
                  <a:pt x="3111" y="1778"/>
                  <a:pt x="3111" y="1778"/>
                  <a:pt x="3111" y="1778"/>
                </a:cubicBezTo>
                <a:cubicBezTo>
                  <a:pt x="3141" y="1767"/>
                  <a:pt x="3141" y="1767"/>
                  <a:pt x="3141" y="1767"/>
                </a:cubicBezTo>
                <a:cubicBezTo>
                  <a:pt x="3144" y="1728"/>
                  <a:pt x="3144" y="1728"/>
                  <a:pt x="3144" y="1728"/>
                </a:cubicBezTo>
                <a:cubicBezTo>
                  <a:pt x="3125" y="1736"/>
                  <a:pt x="3125" y="1736"/>
                  <a:pt x="3125" y="1736"/>
                </a:cubicBezTo>
                <a:cubicBezTo>
                  <a:pt x="3121" y="1718"/>
                  <a:pt x="3121" y="1718"/>
                  <a:pt x="3121" y="1718"/>
                </a:cubicBezTo>
                <a:cubicBezTo>
                  <a:pt x="3105" y="1707"/>
                  <a:pt x="3105" y="1707"/>
                  <a:pt x="3105" y="1707"/>
                </a:cubicBezTo>
                <a:cubicBezTo>
                  <a:pt x="3134" y="1722"/>
                  <a:pt x="3134" y="1722"/>
                  <a:pt x="3134" y="1722"/>
                </a:cubicBezTo>
                <a:cubicBezTo>
                  <a:pt x="3141" y="1716"/>
                  <a:pt x="3141" y="1716"/>
                  <a:pt x="3141" y="1716"/>
                </a:cubicBezTo>
                <a:cubicBezTo>
                  <a:pt x="3128" y="1706"/>
                  <a:pt x="3128" y="1706"/>
                  <a:pt x="3128" y="1706"/>
                </a:cubicBezTo>
                <a:cubicBezTo>
                  <a:pt x="3146" y="1706"/>
                  <a:pt x="3146" y="1706"/>
                  <a:pt x="3146" y="1706"/>
                </a:cubicBezTo>
                <a:cubicBezTo>
                  <a:pt x="3146" y="1706"/>
                  <a:pt x="3124" y="1677"/>
                  <a:pt x="3124" y="1670"/>
                </a:cubicBezTo>
                <a:cubicBezTo>
                  <a:pt x="3124" y="1663"/>
                  <a:pt x="3129" y="1660"/>
                  <a:pt x="3129" y="1660"/>
                </a:cubicBezTo>
                <a:cubicBezTo>
                  <a:pt x="3129" y="1660"/>
                  <a:pt x="3112" y="1649"/>
                  <a:pt x="3114" y="1646"/>
                </a:cubicBezTo>
                <a:cubicBezTo>
                  <a:pt x="3116" y="1643"/>
                  <a:pt x="3135" y="1631"/>
                  <a:pt x="3135" y="1631"/>
                </a:cubicBezTo>
                <a:cubicBezTo>
                  <a:pt x="3130" y="1649"/>
                  <a:pt x="3130" y="1649"/>
                  <a:pt x="3130" y="1649"/>
                </a:cubicBezTo>
                <a:cubicBezTo>
                  <a:pt x="3151" y="1666"/>
                  <a:pt x="3151" y="1666"/>
                  <a:pt x="3151" y="1666"/>
                </a:cubicBezTo>
                <a:cubicBezTo>
                  <a:pt x="3151" y="1666"/>
                  <a:pt x="3159" y="1642"/>
                  <a:pt x="3159" y="1629"/>
                </a:cubicBezTo>
                <a:cubicBezTo>
                  <a:pt x="3159" y="1616"/>
                  <a:pt x="3197" y="1585"/>
                  <a:pt x="3196" y="1593"/>
                </a:cubicBezTo>
                <a:cubicBezTo>
                  <a:pt x="3195" y="1601"/>
                  <a:pt x="3172" y="1634"/>
                  <a:pt x="3172" y="1634"/>
                </a:cubicBezTo>
                <a:cubicBezTo>
                  <a:pt x="3166" y="1656"/>
                  <a:pt x="3166" y="1656"/>
                  <a:pt x="3166" y="1656"/>
                </a:cubicBezTo>
                <a:cubicBezTo>
                  <a:pt x="3179" y="1657"/>
                  <a:pt x="3179" y="1657"/>
                  <a:pt x="3179" y="1657"/>
                </a:cubicBezTo>
                <a:cubicBezTo>
                  <a:pt x="3179" y="1657"/>
                  <a:pt x="3176" y="1679"/>
                  <a:pt x="3171" y="1683"/>
                </a:cubicBezTo>
                <a:cubicBezTo>
                  <a:pt x="3166" y="1687"/>
                  <a:pt x="3148" y="1721"/>
                  <a:pt x="3155" y="1721"/>
                </a:cubicBezTo>
                <a:cubicBezTo>
                  <a:pt x="3162" y="1721"/>
                  <a:pt x="3172" y="1697"/>
                  <a:pt x="3178" y="1692"/>
                </a:cubicBezTo>
                <a:cubicBezTo>
                  <a:pt x="3184" y="1687"/>
                  <a:pt x="3214" y="1671"/>
                  <a:pt x="3216" y="1658"/>
                </a:cubicBezTo>
                <a:cubicBezTo>
                  <a:pt x="3218" y="1645"/>
                  <a:pt x="3214" y="1624"/>
                  <a:pt x="3214" y="1613"/>
                </a:cubicBezTo>
                <a:cubicBezTo>
                  <a:pt x="3214" y="1602"/>
                  <a:pt x="3218" y="1576"/>
                  <a:pt x="3225" y="1573"/>
                </a:cubicBezTo>
                <a:cubicBezTo>
                  <a:pt x="3232" y="1570"/>
                  <a:pt x="3227" y="1575"/>
                  <a:pt x="3224" y="1588"/>
                </a:cubicBezTo>
                <a:cubicBezTo>
                  <a:pt x="3221" y="1601"/>
                  <a:pt x="3233" y="1605"/>
                  <a:pt x="3233" y="1605"/>
                </a:cubicBezTo>
                <a:cubicBezTo>
                  <a:pt x="3233" y="1605"/>
                  <a:pt x="3227" y="1630"/>
                  <a:pt x="3230" y="1630"/>
                </a:cubicBezTo>
                <a:cubicBezTo>
                  <a:pt x="3233" y="1630"/>
                  <a:pt x="3264" y="1591"/>
                  <a:pt x="3274" y="1581"/>
                </a:cubicBezTo>
                <a:cubicBezTo>
                  <a:pt x="3284" y="1571"/>
                  <a:pt x="3306" y="1555"/>
                  <a:pt x="3303" y="1551"/>
                </a:cubicBezTo>
                <a:cubicBezTo>
                  <a:pt x="3300" y="1547"/>
                  <a:pt x="3291" y="1550"/>
                  <a:pt x="3291" y="1540"/>
                </a:cubicBezTo>
                <a:cubicBezTo>
                  <a:pt x="3291" y="1530"/>
                  <a:pt x="3309" y="1535"/>
                  <a:pt x="3329" y="1535"/>
                </a:cubicBezTo>
                <a:cubicBezTo>
                  <a:pt x="3349" y="1535"/>
                  <a:pt x="3395" y="1513"/>
                  <a:pt x="3395" y="1513"/>
                </a:cubicBezTo>
                <a:cubicBezTo>
                  <a:pt x="3382" y="1507"/>
                  <a:pt x="3382" y="1507"/>
                  <a:pt x="3382" y="1507"/>
                </a:cubicBezTo>
                <a:cubicBezTo>
                  <a:pt x="3382" y="1507"/>
                  <a:pt x="3358" y="1518"/>
                  <a:pt x="3346" y="1519"/>
                </a:cubicBezTo>
                <a:cubicBezTo>
                  <a:pt x="3334" y="1520"/>
                  <a:pt x="3314" y="1528"/>
                  <a:pt x="3317" y="1515"/>
                </a:cubicBezTo>
                <a:cubicBezTo>
                  <a:pt x="3320" y="1502"/>
                  <a:pt x="3355" y="1499"/>
                  <a:pt x="3355" y="1499"/>
                </a:cubicBezTo>
                <a:cubicBezTo>
                  <a:pt x="3415" y="1498"/>
                  <a:pt x="3415" y="1498"/>
                  <a:pt x="3415" y="1498"/>
                </a:cubicBezTo>
                <a:cubicBezTo>
                  <a:pt x="3444" y="1471"/>
                  <a:pt x="3444" y="1471"/>
                  <a:pt x="3444" y="1471"/>
                </a:cubicBezTo>
                <a:cubicBezTo>
                  <a:pt x="3450" y="1481"/>
                  <a:pt x="3450" y="1481"/>
                  <a:pt x="3450" y="1481"/>
                </a:cubicBezTo>
                <a:cubicBezTo>
                  <a:pt x="3468" y="1472"/>
                  <a:pt x="3468" y="1472"/>
                  <a:pt x="3468" y="1472"/>
                </a:cubicBezTo>
                <a:cubicBezTo>
                  <a:pt x="3466" y="1495"/>
                  <a:pt x="3466" y="1495"/>
                  <a:pt x="3466" y="1495"/>
                </a:cubicBezTo>
                <a:cubicBezTo>
                  <a:pt x="3486" y="1482"/>
                  <a:pt x="3486" y="1482"/>
                  <a:pt x="3486" y="1482"/>
                </a:cubicBezTo>
                <a:cubicBezTo>
                  <a:pt x="3502" y="1478"/>
                  <a:pt x="3502" y="1478"/>
                  <a:pt x="3502" y="1478"/>
                </a:cubicBezTo>
                <a:cubicBezTo>
                  <a:pt x="3507" y="1456"/>
                  <a:pt x="3507" y="1456"/>
                  <a:pt x="3507" y="1456"/>
                </a:cubicBezTo>
                <a:cubicBezTo>
                  <a:pt x="3498" y="1448"/>
                  <a:pt x="3498" y="1448"/>
                  <a:pt x="3498" y="1448"/>
                </a:cubicBezTo>
                <a:cubicBezTo>
                  <a:pt x="3496" y="1467"/>
                  <a:pt x="3496" y="1467"/>
                  <a:pt x="3496" y="1467"/>
                </a:cubicBezTo>
                <a:cubicBezTo>
                  <a:pt x="3480" y="1470"/>
                  <a:pt x="3480" y="1470"/>
                  <a:pt x="3480" y="1470"/>
                </a:cubicBezTo>
                <a:cubicBezTo>
                  <a:pt x="3480" y="1451"/>
                  <a:pt x="3480" y="1451"/>
                  <a:pt x="3480" y="1451"/>
                </a:cubicBezTo>
                <a:cubicBezTo>
                  <a:pt x="3467" y="1437"/>
                  <a:pt x="3467" y="1437"/>
                  <a:pt x="3467" y="1437"/>
                </a:cubicBezTo>
                <a:cubicBezTo>
                  <a:pt x="3483" y="1429"/>
                  <a:pt x="3483" y="1429"/>
                  <a:pt x="3483" y="1429"/>
                </a:cubicBezTo>
                <a:cubicBezTo>
                  <a:pt x="3487" y="1406"/>
                  <a:pt x="3487" y="1406"/>
                  <a:pt x="3487" y="1406"/>
                </a:cubicBezTo>
                <a:cubicBezTo>
                  <a:pt x="3487" y="1406"/>
                  <a:pt x="3502" y="1389"/>
                  <a:pt x="3512" y="1384"/>
                </a:cubicBezTo>
                <a:cubicBezTo>
                  <a:pt x="3522" y="1379"/>
                  <a:pt x="3527" y="1361"/>
                  <a:pt x="3527" y="1361"/>
                </a:cubicBezTo>
                <a:cubicBezTo>
                  <a:pt x="3546" y="1366"/>
                  <a:pt x="3546" y="1366"/>
                  <a:pt x="3546" y="1366"/>
                </a:cubicBezTo>
                <a:cubicBezTo>
                  <a:pt x="3556" y="1351"/>
                  <a:pt x="3556" y="1351"/>
                  <a:pt x="3556" y="1351"/>
                </a:cubicBezTo>
                <a:cubicBezTo>
                  <a:pt x="3556" y="1351"/>
                  <a:pt x="3559" y="1362"/>
                  <a:pt x="3568" y="1356"/>
                </a:cubicBezTo>
                <a:cubicBezTo>
                  <a:pt x="3577" y="1350"/>
                  <a:pt x="3604" y="1326"/>
                  <a:pt x="3604" y="1326"/>
                </a:cubicBezTo>
                <a:cubicBezTo>
                  <a:pt x="3605" y="1344"/>
                  <a:pt x="3605" y="1344"/>
                  <a:pt x="3605" y="1344"/>
                </a:cubicBezTo>
                <a:cubicBezTo>
                  <a:pt x="3605" y="1344"/>
                  <a:pt x="3636" y="1325"/>
                  <a:pt x="3645" y="1320"/>
                </a:cubicBezTo>
                <a:cubicBezTo>
                  <a:pt x="3654" y="1315"/>
                  <a:pt x="3686" y="1314"/>
                  <a:pt x="3686" y="1314"/>
                </a:cubicBezTo>
                <a:cubicBezTo>
                  <a:pt x="3686" y="1292"/>
                  <a:pt x="3686" y="1292"/>
                  <a:pt x="3686" y="1292"/>
                </a:cubicBezTo>
                <a:cubicBezTo>
                  <a:pt x="3686" y="1292"/>
                  <a:pt x="3687" y="1292"/>
                  <a:pt x="3687" y="1293"/>
                </a:cubicBezTo>
                <a:cubicBezTo>
                  <a:pt x="3686" y="1289"/>
                  <a:pt x="3686" y="1289"/>
                  <a:pt x="3686" y="1289"/>
                </a:cubicBezTo>
                <a:cubicBezTo>
                  <a:pt x="3686" y="1289"/>
                  <a:pt x="3678" y="1292"/>
                  <a:pt x="3673" y="1287"/>
                </a:cubicBezTo>
                <a:cubicBezTo>
                  <a:pt x="3668" y="1282"/>
                  <a:pt x="3682" y="1269"/>
                  <a:pt x="3682" y="1269"/>
                </a:cubicBezTo>
                <a:cubicBezTo>
                  <a:pt x="3682" y="1269"/>
                  <a:pt x="3674" y="1265"/>
                  <a:pt x="3671" y="1262"/>
                </a:cubicBezTo>
                <a:cubicBezTo>
                  <a:pt x="3668" y="1259"/>
                  <a:pt x="3698" y="1202"/>
                  <a:pt x="3698" y="1185"/>
                </a:cubicBezTo>
                <a:cubicBezTo>
                  <a:pt x="3698" y="1168"/>
                  <a:pt x="3671" y="1179"/>
                  <a:pt x="3659" y="1179"/>
                </a:cubicBezTo>
                <a:close/>
                <a:moveTo>
                  <a:pt x="2900" y="1312"/>
                </a:moveTo>
                <a:cubicBezTo>
                  <a:pt x="2886" y="1312"/>
                  <a:pt x="2906" y="1295"/>
                  <a:pt x="2899" y="1292"/>
                </a:cubicBezTo>
                <a:cubicBezTo>
                  <a:pt x="2892" y="1289"/>
                  <a:pt x="2882" y="1302"/>
                  <a:pt x="2882" y="1302"/>
                </a:cubicBezTo>
                <a:cubicBezTo>
                  <a:pt x="2877" y="1304"/>
                  <a:pt x="2877" y="1304"/>
                  <a:pt x="2877" y="1304"/>
                </a:cubicBezTo>
                <a:cubicBezTo>
                  <a:pt x="2873" y="1315"/>
                  <a:pt x="2873" y="1315"/>
                  <a:pt x="2873" y="1315"/>
                </a:cubicBezTo>
                <a:cubicBezTo>
                  <a:pt x="2862" y="1311"/>
                  <a:pt x="2862" y="1311"/>
                  <a:pt x="2862" y="1311"/>
                </a:cubicBezTo>
                <a:cubicBezTo>
                  <a:pt x="2862" y="1311"/>
                  <a:pt x="2862" y="1322"/>
                  <a:pt x="2859" y="1329"/>
                </a:cubicBezTo>
                <a:cubicBezTo>
                  <a:pt x="2856" y="1336"/>
                  <a:pt x="2846" y="1339"/>
                  <a:pt x="2841" y="1344"/>
                </a:cubicBezTo>
                <a:cubicBezTo>
                  <a:pt x="2836" y="1349"/>
                  <a:pt x="2842" y="1357"/>
                  <a:pt x="2842" y="1357"/>
                </a:cubicBezTo>
                <a:cubicBezTo>
                  <a:pt x="2842" y="1357"/>
                  <a:pt x="2838" y="1357"/>
                  <a:pt x="2825" y="1371"/>
                </a:cubicBezTo>
                <a:cubicBezTo>
                  <a:pt x="2812" y="1385"/>
                  <a:pt x="2830" y="1385"/>
                  <a:pt x="2830" y="1393"/>
                </a:cubicBezTo>
                <a:cubicBezTo>
                  <a:pt x="2830" y="1401"/>
                  <a:pt x="2823" y="1402"/>
                  <a:pt x="2823" y="1402"/>
                </a:cubicBezTo>
                <a:cubicBezTo>
                  <a:pt x="2823" y="1402"/>
                  <a:pt x="2831" y="1406"/>
                  <a:pt x="2808" y="1438"/>
                </a:cubicBezTo>
                <a:cubicBezTo>
                  <a:pt x="2785" y="1470"/>
                  <a:pt x="2740" y="1480"/>
                  <a:pt x="2740" y="1480"/>
                </a:cubicBezTo>
                <a:cubicBezTo>
                  <a:pt x="2743" y="1460"/>
                  <a:pt x="2743" y="1460"/>
                  <a:pt x="2743" y="1460"/>
                </a:cubicBezTo>
                <a:cubicBezTo>
                  <a:pt x="2743" y="1460"/>
                  <a:pt x="2739" y="1453"/>
                  <a:pt x="2737" y="1449"/>
                </a:cubicBezTo>
                <a:cubicBezTo>
                  <a:pt x="2735" y="1445"/>
                  <a:pt x="2752" y="1425"/>
                  <a:pt x="2754" y="1418"/>
                </a:cubicBezTo>
                <a:cubicBezTo>
                  <a:pt x="2756" y="1411"/>
                  <a:pt x="2750" y="1410"/>
                  <a:pt x="2752" y="1398"/>
                </a:cubicBezTo>
                <a:cubicBezTo>
                  <a:pt x="2754" y="1386"/>
                  <a:pt x="2776" y="1367"/>
                  <a:pt x="2776" y="1367"/>
                </a:cubicBezTo>
                <a:cubicBezTo>
                  <a:pt x="2776" y="1358"/>
                  <a:pt x="2776" y="1358"/>
                  <a:pt x="2776" y="1358"/>
                </a:cubicBezTo>
                <a:cubicBezTo>
                  <a:pt x="2776" y="1358"/>
                  <a:pt x="2797" y="1343"/>
                  <a:pt x="2800" y="1337"/>
                </a:cubicBezTo>
                <a:cubicBezTo>
                  <a:pt x="2803" y="1331"/>
                  <a:pt x="2835" y="1300"/>
                  <a:pt x="2835" y="1300"/>
                </a:cubicBezTo>
                <a:cubicBezTo>
                  <a:pt x="2814" y="1306"/>
                  <a:pt x="2814" y="1306"/>
                  <a:pt x="2814" y="1306"/>
                </a:cubicBezTo>
                <a:cubicBezTo>
                  <a:pt x="2814" y="1306"/>
                  <a:pt x="2791" y="1325"/>
                  <a:pt x="2787" y="1320"/>
                </a:cubicBezTo>
                <a:cubicBezTo>
                  <a:pt x="2783" y="1315"/>
                  <a:pt x="2823" y="1291"/>
                  <a:pt x="2828" y="1283"/>
                </a:cubicBezTo>
                <a:cubicBezTo>
                  <a:pt x="2833" y="1275"/>
                  <a:pt x="2861" y="1254"/>
                  <a:pt x="2861" y="1254"/>
                </a:cubicBezTo>
                <a:cubicBezTo>
                  <a:pt x="2866" y="1260"/>
                  <a:pt x="2866" y="1260"/>
                  <a:pt x="2866" y="1260"/>
                </a:cubicBezTo>
                <a:cubicBezTo>
                  <a:pt x="2876" y="1254"/>
                  <a:pt x="2876" y="1254"/>
                  <a:pt x="2876" y="1254"/>
                </a:cubicBezTo>
                <a:cubicBezTo>
                  <a:pt x="2876" y="1254"/>
                  <a:pt x="2871" y="1263"/>
                  <a:pt x="2881" y="1262"/>
                </a:cubicBezTo>
                <a:cubicBezTo>
                  <a:pt x="2891" y="1261"/>
                  <a:pt x="2888" y="1247"/>
                  <a:pt x="2888" y="1247"/>
                </a:cubicBezTo>
                <a:cubicBezTo>
                  <a:pt x="2904" y="1252"/>
                  <a:pt x="2904" y="1252"/>
                  <a:pt x="2904" y="1252"/>
                </a:cubicBezTo>
                <a:cubicBezTo>
                  <a:pt x="2904" y="1252"/>
                  <a:pt x="2926" y="1241"/>
                  <a:pt x="2936" y="1244"/>
                </a:cubicBezTo>
                <a:cubicBezTo>
                  <a:pt x="2946" y="1247"/>
                  <a:pt x="2951" y="1259"/>
                  <a:pt x="2951" y="1259"/>
                </a:cubicBezTo>
                <a:cubicBezTo>
                  <a:pt x="2934" y="1265"/>
                  <a:pt x="2934" y="1265"/>
                  <a:pt x="2934" y="1265"/>
                </a:cubicBezTo>
                <a:cubicBezTo>
                  <a:pt x="2936" y="1282"/>
                  <a:pt x="2936" y="1282"/>
                  <a:pt x="2936" y="1282"/>
                </a:cubicBezTo>
                <a:cubicBezTo>
                  <a:pt x="2936" y="1282"/>
                  <a:pt x="2924" y="1280"/>
                  <a:pt x="2917" y="1280"/>
                </a:cubicBezTo>
                <a:cubicBezTo>
                  <a:pt x="2910" y="1280"/>
                  <a:pt x="2913" y="1297"/>
                  <a:pt x="2913" y="1297"/>
                </a:cubicBezTo>
                <a:cubicBezTo>
                  <a:pt x="2913" y="1297"/>
                  <a:pt x="2914" y="1312"/>
                  <a:pt x="2900" y="131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6" name="Freeform 163"/>
          <p:cNvSpPr>
            <a:spLocks noChangeAspect="1" noEditPoints="1"/>
          </p:cNvSpPr>
          <p:nvPr/>
        </p:nvSpPr>
        <p:spPr bwMode="gray">
          <a:xfrm>
            <a:off x="1160463" y="1914525"/>
            <a:ext cx="2119312" cy="1195388"/>
          </a:xfrm>
          <a:custGeom>
            <a:avLst/>
            <a:gdLst>
              <a:gd name="T0" fmla="*/ 1751 w 3718"/>
              <a:gd name="T1" fmla="*/ 311 h 1928"/>
              <a:gd name="T2" fmla="*/ 1928 w 3718"/>
              <a:gd name="T3" fmla="*/ 253 h 1928"/>
              <a:gd name="T4" fmla="*/ 91 w 3718"/>
              <a:gd name="T5" fmla="*/ 1452 h 1928"/>
              <a:gd name="T6" fmla="*/ 192 w 3718"/>
              <a:gd name="T7" fmla="*/ 1557 h 1928"/>
              <a:gd name="T8" fmla="*/ 1536 w 3718"/>
              <a:gd name="T9" fmla="*/ 249 h 1928"/>
              <a:gd name="T10" fmla="*/ 1263 w 3718"/>
              <a:gd name="T11" fmla="*/ 454 h 1928"/>
              <a:gd name="T12" fmla="*/ 2786 w 3718"/>
              <a:gd name="T13" fmla="*/ 403 h 1928"/>
              <a:gd name="T14" fmla="*/ 2403 w 3718"/>
              <a:gd name="T15" fmla="*/ 398 h 1928"/>
              <a:gd name="T16" fmla="*/ 2795 w 3718"/>
              <a:gd name="T17" fmla="*/ 164 h 1928"/>
              <a:gd name="T18" fmla="*/ 2435 w 3718"/>
              <a:gd name="T19" fmla="*/ 241 h 1928"/>
              <a:gd name="T20" fmla="*/ 2879 w 3718"/>
              <a:gd name="T21" fmla="*/ 281 h 1928"/>
              <a:gd name="T22" fmla="*/ 2217 w 3718"/>
              <a:gd name="T23" fmla="*/ 308 h 1928"/>
              <a:gd name="T24" fmla="*/ 2188 w 3718"/>
              <a:gd name="T25" fmla="*/ 339 h 1928"/>
              <a:gd name="T26" fmla="*/ 1671 w 3718"/>
              <a:gd name="T27" fmla="*/ 423 h 1928"/>
              <a:gd name="T28" fmla="*/ 1741 w 3718"/>
              <a:gd name="T29" fmla="*/ 554 h 1928"/>
              <a:gd name="T30" fmla="*/ 2320 w 3718"/>
              <a:gd name="T31" fmla="*/ 886 h 1928"/>
              <a:gd name="T32" fmla="*/ 3040 w 3718"/>
              <a:gd name="T33" fmla="*/ 512 h 1928"/>
              <a:gd name="T34" fmla="*/ 2895 w 3718"/>
              <a:gd name="T35" fmla="*/ 465 h 1928"/>
              <a:gd name="T36" fmla="*/ 2625 w 3718"/>
              <a:gd name="T37" fmla="*/ 374 h 1928"/>
              <a:gd name="T38" fmla="*/ 2433 w 3718"/>
              <a:gd name="T39" fmla="*/ 416 h 1928"/>
              <a:gd name="T40" fmla="*/ 2816 w 3718"/>
              <a:gd name="T41" fmla="*/ 590 h 1928"/>
              <a:gd name="T42" fmla="*/ 2728 w 3718"/>
              <a:gd name="T43" fmla="*/ 812 h 1928"/>
              <a:gd name="T44" fmla="*/ 2979 w 3718"/>
              <a:gd name="T45" fmla="*/ 840 h 1928"/>
              <a:gd name="T46" fmla="*/ 3051 w 3718"/>
              <a:gd name="T47" fmla="*/ 710 h 1928"/>
              <a:gd name="T48" fmla="*/ 3290 w 3718"/>
              <a:gd name="T49" fmla="*/ 7 h 1928"/>
              <a:gd name="T50" fmla="*/ 2979 w 3718"/>
              <a:gd name="T51" fmla="*/ 89 h 1928"/>
              <a:gd name="T52" fmla="*/ 2909 w 3718"/>
              <a:gd name="T53" fmla="*/ 149 h 1928"/>
              <a:gd name="T54" fmla="*/ 2695 w 3718"/>
              <a:gd name="T55" fmla="*/ 240 h 1928"/>
              <a:gd name="T56" fmla="*/ 2959 w 3718"/>
              <a:gd name="T57" fmla="*/ 215 h 1928"/>
              <a:gd name="T58" fmla="*/ 3491 w 3718"/>
              <a:gd name="T59" fmla="*/ 60 h 1928"/>
              <a:gd name="T60" fmla="*/ 3037 w 3718"/>
              <a:gd name="T61" fmla="*/ 1324 h 1928"/>
              <a:gd name="T62" fmla="*/ 2969 w 3718"/>
              <a:gd name="T63" fmla="*/ 1233 h 1928"/>
              <a:gd name="T64" fmla="*/ 2916 w 3718"/>
              <a:gd name="T65" fmla="*/ 983 h 1928"/>
              <a:gd name="T66" fmla="*/ 2698 w 3718"/>
              <a:gd name="T67" fmla="*/ 1052 h 1928"/>
              <a:gd name="T68" fmla="*/ 2579 w 3718"/>
              <a:gd name="T69" fmla="*/ 881 h 1928"/>
              <a:gd name="T70" fmla="*/ 2154 w 3718"/>
              <a:gd name="T71" fmla="*/ 1387 h 1928"/>
              <a:gd name="T72" fmla="*/ 1908 w 3718"/>
              <a:gd name="T73" fmla="*/ 1200 h 1928"/>
              <a:gd name="T74" fmla="*/ 2020 w 3718"/>
              <a:gd name="T75" fmla="*/ 819 h 1928"/>
              <a:gd name="T76" fmla="*/ 2381 w 3718"/>
              <a:gd name="T77" fmla="*/ 688 h 1928"/>
              <a:gd name="T78" fmla="*/ 2341 w 3718"/>
              <a:gd name="T79" fmla="*/ 591 h 1928"/>
              <a:gd name="T80" fmla="*/ 2152 w 3718"/>
              <a:gd name="T81" fmla="*/ 466 h 1928"/>
              <a:gd name="T82" fmla="*/ 2022 w 3718"/>
              <a:gd name="T83" fmla="*/ 604 h 1928"/>
              <a:gd name="T84" fmla="*/ 1571 w 3718"/>
              <a:gd name="T85" fmla="*/ 687 h 1928"/>
              <a:gd name="T86" fmla="*/ 1056 w 3718"/>
              <a:gd name="T87" fmla="*/ 513 h 1928"/>
              <a:gd name="T88" fmla="*/ 820 w 3718"/>
              <a:gd name="T89" fmla="*/ 550 h 1928"/>
              <a:gd name="T90" fmla="*/ 88 w 3718"/>
              <a:gd name="T91" fmla="*/ 994 h 1928"/>
              <a:gd name="T92" fmla="*/ 198 w 3718"/>
              <a:gd name="T93" fmla="*/ 1239 h 1928"/>
              <a:gd name="T94" fmla="*/ 145 w 3718"/>
              <a:gd name="T95" fmla="*/ 1403 h 1928"/>
              <a:gd name="T96" fmla="*/ 1370 w 3718"/>
              <a:gd name="T97" fmla="*/ 1561 h 1928"/>
              <a:gd name="T98" fmla="*/ 1704 w 3718"/>
              <a:gd name="T99" fmla="*/ 1563 h 1928"/>
              <a:gd name="T100" fmla="*/ 1914 w 3718"/>
              <a:gd name="T101" fmla="*/ 1746 h 1928"/>
              <a:gd name="T102" fmla="*/ 1800 w 3718"/>
              <a:gd name="T103" fmla="*/ 1889 h 1928"/>
              <a:gd name="T104" fmla="*/ 2340 w 3718"/>
              <a:gd name="T105" fmla="*/ 1727 h 1928"/>
              <a:gd name="T106" fmla="*/ 2592 w 3718"/>
              <a:gd name="T107" fmla="*/ 1751 h 1928"/>
              <a:gd name="T108" fmla="*/ 2599 w 3718"/>
              <a:gd name="T109" fmla="*/ 1697 h 1928"/>
              <a:gd name="T110" fmla="*/ 2427 w 3718"/>
              <a:gd name="T111" fmla="*/ 1603 h 1928"/>
              <a:gd name="T112" fmla="*/ 3072 w 3718"/>
              <a:gd name="T113" fmla="*/ 1343 h 1928"/>
              <a:gd name="T114" fmla="*/ 1149 w 3718"/>
              <a:gd name="T115" fmla="*/ 677 h 1928"/>
              <a:gd name="T116" fmla="*/ 1057 w 3718"/>
              <a:gd name="T117" fmla="*/ 724 h 1928"/>
              <a:gd name="T118" fmla="*/ 985 w 3718"/>
              <a:gd name="T119" fmla="*/ 939 h 1928"/>
              <a:gd name="T120" fmla="*/ 1403 w 3718"/>
              <a:gd name="T121" fmla="*/ 1393 h 1928"/>
              <a:gd name="T122" fmla="*/ 2418 w 3718"/>
              <a:gd name="T123" fmla="*/ 785 h 1928"/>
              <a:gd name="T124" fmla="*/ 2386 w 3718"/>
              <a:gd name="T125"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7" name="Freeform 164"/>
          <p:cNvSpPr>
            <a:spLocks noChangeAspect="1"/>
          </p:cNvSpPr>
          <p:nvPr/>
        </p:nvSpPr>
        <p:spPr bwMode="gray">
          <a:xfrm>
            <a:off x="1960563" y="4500563"/>
            <a:ext cx="358775" cy="612775"/>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8" name="Freeform 165"/>
          <p:cNvSpPr>
            <a:spLocks noChangeAspect="1" noEditPoints="1"/>
          </p:cNvSpPr>
          <p:nvPr/>
        </p:nvSpPr>
        <p:spPr bwMode="gray">
          <a:xfrm>
            <a:off x="2284413" y="4821238"/>
            <a:ext cx="346075" cy="439737"/>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69" name="Freeform 166"/>
          <p:cNvSpPr>
            <a:spLocks noChangeAspect="1"/>
          </p:cNvSpPr>
          <p:nvPr/>
        </p:nvSpPr>
        <p:spPr bwMode="gray">
          <a:xfrm>
            <a:off x="5549900" y="2990850"/>
            <a:ext cx="457200" cy="274638"/>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0" name="Freeform 167"/>
          <p:cNvSpPr>
            <a:spLocks noChangeAspect="1" noEditPoints="1"/>
          </p:cNvSpPr>
          <p:nvPr/>
        </p:nvSpPr>
        <p:spPr bwMode="gray">
          <a:xfrm>
            <a:off x="5302250" y="2674938"/>
            <a:ext cx="955675" cy="479425"/>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1" name="Freeform 168"/>
          <p:cNvSpPr>
            <a:spLocks noChangeAspect="1"/>
          </p:cNvSpPr>
          <p:nvPr/>
        </p:nvSpPr>
        <p:spPr bwMode="gray">
          <a:xfrm>
            <a:off x="4970463" y="4849813"/>
            <a:ext cx="290512" cy="552450"/>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2" name="Freeform 169"/>
          <p:cNvSpPr>
            <a:spLocks noChangeAspect="1"/>
          </p:cNvSpPr>
          <p:nvPr/>
        </p:nvSpPr>
        <p:spPr bwMode="gray">
          <a:xfrm>
            <a:off x="5043488" y="4814888"/>
            <a:ext cx="90487" cy="258762"/>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3" name="Freeform 170"/>
          <p:cNvSpPr>
            <a:spLocks noChangeAspect="1"/>
          </p:cNvSpPr>
          <p:nvPr/>
        </p:nvSpPr>
        <p:spPr bwMode="gray">
          <a:xfrm>
            <a:off x="4754563" y="4773613"/>
            <a:ext cx="320675" cy="331787"/>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4" name="Freeform 171"/>
          <p:cNvSpPr>
            <a:spLocks noChangeAspect="1"/>
          </p:cNvSpPr>
          <p:nvPr/>
        </p:nvSpPr>
        <p:spPr bwMode="gray">
          <a:xfrm>
            <a:off x="4495800" y="4321175"/>
            <a:ext cx="512763" cy="627063"/>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5" name="Freeform 172"/>
          <p:cNvSpPr>
            <a:spLocks noChangeAspect="1"/>
          </p:cNvSpPr>
          <p:nvPr/>
        </p:nvSpPr>
        <p:spPr bwMode="gray">
          <a:xfrm>
            <a:off x="4946650" y="4581525"/>
            <a:ext cx="49213" cy="69850"/>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6" name="Freeform 173"/>
          <p:cNvSpPr>
            <a:spLocks noChangeAspect="1"/>
          </p:cNvSpPr>
          <p:nvPr/>
        </p:nvSpPr>
        <p:spPr bwMode="gray">
          <a:xfrm>
            <a:off x="4962525" y="4537075"/>
            <a:ext cx="290513" cy="355600"/>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7" name="Freeform 174"/>
          <p:cNvSpPr>
            <a:spLocks noChangeAspect="1" noEditPoints="1"/>
          </p:cNvSpPr>
          <p:nvPr/>
        </p:nvSpPr>
        <p:spPr bwMode="gray">
          <a:xfrm>
            <a:off x="4964113" y="4362450"/>
            <a:ext cx="152400" cy="193675"/>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8" name="Freeform 175"/>
          <p:cNvSpPr>
            <a:spLocks noChangeAspect="1"/>
          </p:cNvSpPr>
          <p:nvPr/>
        </p:nvSpPr>
        <p:spPr bwMode="gray">
          <a:xfrm>
            <a:off x="5081588" y="4343400"/>
            <a:ext cx="215900" cy="314325"/>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79" name="Freeform 176"/>
          <p:cNvSpPr>
            <a:spLocks noChangeAspect="1"/>
          </p:cNvSpPr>
          <p:nvPr/>
        </p:nvSpPr>
        <p:spPr bwMode="gray">
          <a:xfrm>
            <a:off x="1843088" y="4129088"/>
            <a:ext cx="92075" cy="95250"/>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80" name="Freeform 177"/>
          <p:cNvSpPr>
            <a:spLocks/>
          </p:cNvSpPr>
          <p:nvPr/>
        </p:nvSpPr>
        <p:spPr bwMode="gray">
          <a:xfrm>
            <a:off x="1800225" y="3994150"/>
            <a:ext cx="146050" cy="161925"/>
          </a:xfrm>
          <a:custGeom>
            <a:avLst/>
            <a:gdLst>
              <a:gd name="T0" fmla="*/ 39 w 39"/>
              <a:gd name="T1" fmla="*/ 3 h 40"/>
              <a:gd name="T2" fmla="*/ 38 w 39"/>
              <a:gd name="T3" fmla="*/ 1 h 40"/>
              <a:gd name="T4" fmla="*/ 34 w 39"/>
              <a:gd name="T5" fmla="*/ 1 h 40"/>
              <a:gd name="T6" fmla="*/ 32 w 39"/>
              <a:gd name="T7" fmla="*/ 1 h 40"/>
              <a:gd name="T8" fmla="*/ 30 w 39"/>
              <a:gd name="T9" fmla="*/ 3 h 40"/>
              <a:gd name="T10" fmla="*/ 26 w 39"/>
              <a:gd name="T11" fmla="*/ 1 h 40"/>
              <a:gd name="T12" fmla="*/ 24 w 39"/>
              <a:gd name="T13" fmla="*/ 4 h 40"/>
              <a:gd name="T14" fmla="*/ 21 w 39"/>
              <a:gd name="T15" fmla="*/ 4 h 40"/>
              <a:gd name="T16" fmla="*/ 21 w 39"/>
              <a:gd name="T17" fmla="*/ 6 h 40"/>
              <a:gd name="T18" fmla="*/ 17 w 39"/>
              <a:gd name="T19" fmla="*/ 10 h 40"/>
              <a:gd name="T20" fmla="*/ 14 w 39"/>
              <a:gd name="T21" fmla="*/ 8 h 40"/>
              <a:gd name="T22" fmla="*/ 12 w 39"/>
              <a:gd name="T23" fmla="*/ 11 h 40"/>
              <a:gd name="T24" fmla="*/ 8 w 39"/>
              <a:gd name="T25" fmla="*/ 11 h 40"/>
              <a:gd name="T26" fmla="*/ 8 w 39"/>
              <a:gd name="T27" fmla="*/ 15 h 40"/>
              <a:gd name="T28" fmla="*/ 6 w 39"/>
              <a:gd name="T29" fmla="*/ 16 h 40"/>
              <a:gd name="T30" fmla="*/ 6 w 39"/>
              <a:gd name="T31" fmla="*/ 18 h 40"/>
              <a:gd name="T32" fmla="*/ 4 w 39"/>
              <a:gd name="T33" fmla="*/ 18 h 40"/>
              <a:gd name="T34" fmla="*/ 0 w 39"/>
              <a:gd name="T35" fmla="*/ 18 h 40"/>
              <a:gd name="T36" fmla="*/ 6 w 39"/>
              <a:gd name="T37" fmla="*/ 25 h 40"/>
              <a:gd name="T38" fmla="*/ 9 w 39"/>
              <a:gd name="T39" fmla="*/ 31 h 40"/>
              <a:gd name="T40" fmla="*/ 14 w 39"/>
              <a:gd name="T41" fmla="*/ 36 h 40"/>
              <a:gd name="T42" fmla="*/ 17 w 39"/>
              <a:gd name="T43" fmla="*/ 36 h 40"/>
              <a:gd name="T44" fmla="*/ 17 w 39"/>
              <a:gd name="T45" fmla="*/ 35 h 40"/>
              <a:gd name="T46" fmla="*/ 15 w 39"/>
              <a:gd name="T47" fmla="*/ 34 h 40"/>
              <a:gd name="T48" fmla="*/ 17 w 39"/>
              <a:gd name="T49" fmla="*/ 32 h 40"/>
              <a:gd name="T50" fmla="*/ 16 w 39"/>
              <a:gd name="T51" fmla="*/ 31 h 40"/>
              <a:gd name="T52" fmla="*/ 14 w 39"/>
              <a:gd name="T53" fmla="*/ 32 h 40"/>
              <a:gd name="T54" fmla="*/ 14 w 39"/>
              <a:gd name="T55" fmla="*/ 27 h 40"/>
              <a:gd name="T56" fmla="*/ 22 w 39"/>
              <a:gd name="T57" fmla="*/ 33 h 40"/>
              <a:gd name="T58" fmla="*/ 23 w 39"/>
              <a:gd name="T59" fmla="*/ 37 h 40"/>
              <a:gd name="T60" fmla="*/ 24 w 39"/>
              <a:gd name="T61" fmla="*/ 37 h 40"/>
              <a:gd name="T62" fmla="*/ 27 w 39"/>
              <a:gd name="T63" fmla="*/ 38 h 40"/>
              <a:gd name="T64" fmla="*/ 29 w 39"/>
              <a:gd name="T65" fmla="*/ 40 h 40"/>
              <a:gd name="T66" fmla="*/ 33 w 39"/>
              <a:gd name="T67" fmla="*/ 39 h 40"/>
              <a:gd name="T68" fmla="*/ 30 w 39"/>
              <a:gd name="T69" fmla="*/ 34 h 40"/>
              <a:gd name="T70" fmla="*/ 32 w 39"/>
              <a:gd name="T71" fmla="*/ 31 h 40"/>
              <a:gd name="T72" fmla="*/ 32 w 39"/>
              <a:gd name="T73" fmla="*/ 27 h 40"/>
              <a:gd name="T74" fmla="*/ 32 w 39"/>
              <a:gd name="T75" fmla="*/ 21 h 40"/>
              <a:gd name="T76" fmla="*/ 34 w 39"/>
              <a:gd name="T77" fmla="*/ 24 h 40"/>
              <a:gd name="T78" fmla="*/ 35 w 39"/>
              <a:gd name="T79" fmla="*/ 14 h 40"/>
              <a:gd name="T80" fmla="*/ 37 w 39"/>
              <a:gd name="T81" fmla="*/ 8 h 40"/>
              <a:gd name="T82" fmla="*/ 39 w 39"/>
              <a:gd name="T8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 h="40">
                <a:moveTo>
                  <a:pt x="39" y="3"/>
                </a:moveTo>
                <a:cubicBezTo>
                  <a:pt x="38" y="2"/>
                  <a:pt x="37" y="1"/>
                  <a:pt x="38" y="1"/>
                </a:cubicBezTo>
                <a:cubicBezTo>
                  <a:pt x="34" y="1"/>
                  <a:pt x="34" y="1"/>
                  <a:pt x="34" y="1"/>
                </a:cubicBezTo>
                <a:cubicBezTo>
                  <a:pt x="34" y="1"/>
                  <a:pt x="33" y="1"/>
                  <a:pt x="32" y="1"/>
                </a:cubicBezTo>
                <a:cubicBezTo>
                  <a:pt x="32" y="1"/>
                  <a:pt x="32" y="2"/>
                  <a:pt x="30" y="3"/>
                </a:cubicBezTo>
                <a:cubicBezTo>
                  <a:pt x="28" y="3"/>
                  <a:pt x="27" y="1"/>
                  <a:pt x="26" y="1"/>
                </a:cubicBezTo>
                <a:cubicBezTo>
                  <a:pt x="24" y="0"/>
                  <a:pt x="24" y="4"/>
                  <a:pt x="24" y="4"/>
                </a:cubicBezTo>
                <a:cubicBezTo>
                  <a:pt x="21" y="4"/>
                  <a:pt x="21" y="4"/>
                  <a:pt x="21" y="4"/>
                </a:cubicBezTo>
                <a:cubicBezTo>
                  <a:pt x="21" y="6"/>
                  <a:pt x="21" y="6"/>
                  <a:pt x="21" y="6"/>
                </a:cubicBezTo>
                <a:cubicBezTo>
                  <a:pt x="21" y="6"/>
                  <a:pt x="19" y="10"/>
                  <a:pt x="17" y="10"/>
                </a:cubicBezTo>
                <a:cubicBezTo>
                  <a:pt x="14" y="10"/>
                  <a:pt x="15" y="9"/>
                  <a:pt x="14" y="8"/>
                </a:cubicBezTo>
                <a:cubicBezTo>
                  <a:pt x="13" y="8"/>
                  <a:pt x="12" y="11"/>
                  <a:pt x="12" y="11"/>
                </a:cubicBezTo>
                <a:cubicBezTo>
                  <a:pt x="12" y="11"/>
                  <a:pt x="11" y="11"/>
                  <a:pt x="8" y="11"/>
                </a:cubicBezTo>
                <a:cubicBezTo>
                  <a:pt x="6" y="11"/>
                  <a:pt x="8" y="15"/>
                  <a:pt x="8" y="15"/>
                </a:cubicBezTo>
                <a:cubicBezTo>
                  <a:pt x="6" y="16"/>
                  <a:pt x="6" y="16"/>
                  <a:pt x="6" y="16"/>
                </a:cubicBezTo>
                <a:cubicBezTo>
                  <a:pt x="6" y="16"/>
                  <a:pt x="7" y="17"/>
                  <a:pt x="6" y="18"/>
                </a:cubicBezTo>
                <a:cubicBezTo>
                  <a:pt x="5" y="18"/>
                  <a:pt x="4" y="18"/>
                  <a:pt x="4" y="18"/>
                </a:cubicBezTo>
                <a:cubicBezTo>
                  <a:pt x="0" y="18"/>
                  <a:pt x="0" y="18"/>
                  <a:pt x="0" y="18"/>
                </a:cubicBezTo>
                <a:cubicBezTo>
                  <a:pt x="6" y="25"/>
                  <a:pt x="6" y="25"/>
                  <a:pt x="6" y="25"/>
                </a:cubicBezTo>
                <a:cubicBezTo>
                  <a:pt x="6" y="25"/>
                  <a:pt x="7" y="30"/>
                  <a:pt x="9" y="31"/>
                </a:cubicBezTo>
                <a:cubicBezTo>
                  <a:pt x="11" y="33"/>
                  <a:pt x="14" y="35"/>
                  <a:pt x="14" y="36"/>
                </a:cubicBezTo>
                <a:cubicBezTo>
                  <a:pt x="15" y="36"/>
                  <a:pt x="16" y="35"/>
                  <a:pt x="17" y="36"/>
                </a:cubicBezTo>
                <a:cubicBezTo>
                  <a:pt x="17" y="35"/>
                  <a:pt x="17" y="35"/>
                  <a:pt x="17" y="35"/>
                </a:cubicBezTo>
                <a:cubicBezTo>
                  <a:pt x="16" y="35"/>
                  <a:pt x="14" y="34"/>
                  <a:pt x="15" y="34"/>
                </a:cubicBezTo>
                <a:cubicBezTo>
                  <a:pt x="15" y="33"/>
                  <a:pt x="18" y="34"/>
                  <a:pt x="17" y="32"/>
                </a:cubicBezTo>
                <a:cubicBezTo>
                  <a:pt x="16" y="31"/>
                  <a:pt x="16" y="31"/>
                  <a:pt x="16" y="31"/>
                </a:cubicBezTo>
                <a:cubicBezTo>
                  <a:pt x="16" y="31"/>
                  <a:pt x="14" y="32"/>
                  <a:pt x="14" y="32"/>
                </a:cubicBezTo>
                <a:cubicBezTo>
                  <a:pt x="14" y="31"/>
                  <a:pt x="13" y="26"/>
                  <a:pt x="14" y="27"/>
                </a:cubicBezTo>
                <a:cubicBezTo>
                  <a:pt x="15" y="27"/>
                  <a:pt x="21" y="32"/>
                  <a:pt x="22" y="33"/>
                </a:cubicBezTo>
                <a:cubicBezTo>
                  <a:pt x="23" y="34"/>
                  <a:pt x="23" y="35"/>
                  <a:pt x="23" y="37"/>
                </a:cubicBezTo>
                <a:cubicBezTo>
                  <a:pt x="23" y="37"/>
                  <a:pt x="23" y="37"/>
                  <a:pt x="24" y="37"/>
                </a:cubicBezTo>
                <a:cubicBezTo>
                  <a:pt x="26" y="37"/>
                  <a:pt x="27" y="38"/>
                  <a:pt x="27" y="38"/>
                </a:cubicBezTo>
                <a:cubicBezTo>
                  <a:pt x="27" y="38"/>
                  <a:pt x="27" y="40"/>
                  <a:pt x="29" y="40"/>
                </a:cubicBezTo>
                <a:cubicBezTo>
                  <a:pt x="30" y="40"/>
                  <a:pt x="31" y="40"/>
                  <a:pt x="33" y="39"/>
                </a:cubicBezTo>
                <a:cubicBezTo>
                  <a:pt x="32" y="39"/>
                  <a:pt x="30" y="37"/>
                  <a:pt x="30" y="34"/>
                </a:cubicBezTo>
                <a:cubicBezTo>
                  <a:pt x="30" y="32"/>
                  <a:pt x="32" y="32"/>
                  <a:pt x="32" y="31"/>
                </a:cubicBezTo>
                <a:cubicBezTo>
                  <a:pt x="32" y="29"/>
                  <a:pt x="32" y="27"/>
                  <a:pt x="32" y="27"/>
                </a:cubicBezTo>
                <a:cubicBezTo>
                  <a:pt x="32" y="21"/>
                  <a:pt x="32" y="21"/>
                  <a:pt x="32" y="21"/>
                </a:cubicBezTo>
                <a:cubicBezTo>
                  <a:pt x="34" y="24"/>
                  <a:pt x="34" y="24"/>
                  <a:pt x="34" y="24"/>
                </a:cubicBezTo>
                <a:cubicBezTo>
                  <a:pt x="35" y="14"/>
                  <a:pt x="35" y="14"/>
                  <a:pt x="35" y="14"/>
                </a:cubicBezTo>
                <a:cubicBezTo>
                  <a:pt x="35" y="14"/>
                  <a:pt x="36" y="10"/>
                  <a:pt x="37" y="8"/>
                </a:cubicBezTo>
                <a:cubicBezTo>
                  <a:pt x="39" y="7"/>
                  <a:pt x="39" y="4"/>
                  <a:pt x="39" y="3"/>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92" name="Text Box 190"/>
          <p:cNvSpPr txBox="1">
            <a:spLocks noChangeArrowheads="1"/>
          </p:cNvSpPr>
          <p:nvPr/>
        </p:nvSpPr>
        <p:spPr bwMode="auto">
          <a:xfrm>
            <a:off x="4016870" y="5733320"/>
            <a:ext cx="1919363" cy="365091"/>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p>
            <a:pPr fontAlgn="auto">
              <a:spcBef>
                <a:spcPts val="0"/>
              </a:spcBef>
              <a:spcAft>
                <a:spcPts val="0"/>
              </a:spcAft>
              <a:defRPr/>
            </a:pPr>
            <a:r>
              <a:rPr lang="de-DE" kern="0" dirty="0" smtClean="0">
                <a:solidFill>
                  <a:sysClr val="windowText" lastClr="000000"/>
                </a:solidFill>
              </a:rPr>
              <a:t>Roll-out markets</a:t>
            </a:r>
            <a:endParaRPr lang="de-DE" kern="0" dirty="0">
              <a:solidFill>
                <a:sysClr val="windowText" lastClr="000000"/>
              </a:solidFill>
            </a:endParaRPr>
          </a:p>
        </p:txBody>
      </p:sp>
      <p:sp>
        <p:nvSpPr>
          <p:cNvPr id="193" name="Rectangle 191"/>
          <p:cNvSpPr>
            <a:spLocks noChangeArrowheads="1"/>
          </p:cNvSpPr>
          <p:nvPr/>
        </p:nvSpPr>
        <p:spPr bwMode="auto">
          <a:xfrm>
            <a:off x="3224760" y="6093370"/>
            <a:ext cx="714375" cy="173038"/>
          </a:xfrm>
          <a:prstGeom prst="rect">
            <a:avLst/>
          </a:prstGeom>
          <a:solidFill>
            <a:schemeClr val="accent4">
              <a:lumMod val="60000"/>
              <a:lumOff val="40000"/>
            </a:schemeClr>
          </a:solidFill>
          <a:ln>
            <a:solidFill>
              <a:schemeClr val="accent4">
                <a:lumMod val="60000"/>
                <a:lumOff val="40000"/>
              </a:schemeClr>
            </a:solidFill>
          </a:ln>
          <a:effectLst/>
          <a:extLst>
            <a:ext uri="{91240B29-F687-4F45-9708-019B960494DF}">
              <a14:hiddenLine xmlns:a14="http://schemas.microsoft.com/office/drawing/2010/main" xmlns="" w="9525" algn="ctr">
                <a:solidFill>
                  <a:srgbClr val="9F000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fontAlgn="auto">
              <a:spcBef>
                <a:spcPts val="0"/>
              </a:spcBef>
              <a:spcAft>
                <a:spcPts val="0"/>
              </a:spcAft>
              <a:defRPr/>
            </a:pPr>
            <a:endParaRPr lang="en-US" kern="0">
              <a:solidFill>
                <a:sysClr val="windowText" lastClr="000000"/>
              </a:solidFill>
            </a:endParaRPr>
          </a:p>
        </p:txBody>
      </p:sp>
      <p:sp>
        <p:nvSpPr>
          <p:cNvPr id="194" name="Text Box 192"/>
          <p:cNvSpPr txBox="1">
            <a:spLocks noChangeArrowheads="1"/>
          </p:cNvSpPr>
          <p:nvPr/>
        </p:nvSpPr>
        <p:spPr bwMode="auto">
          <a:xfrm>
            <a:off x="3943350" y="6018213"/>
            <a:ext cx="1783108" cy="365091"/>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p>
            <a:pPr fontAlgn="auto">
              <a:spcBef>
                <a:spcPts val="0"/>
              </a:spcBef>
              <a:spcAft>
                <a:spcPts val="0"/>
              </a:spcAft>
              <a:defRPr/>
            </a:pPr>
            <a:r>
              <a:rPr lang="de-DE" kern="0" dirty="0" smtClean="0">
                <a:solidFill>
                  <a:sysClr val="windowText" lastClr="000000"/>
                </a:solidFill>
              </a:rPr>
              <a:t> Future markets</a:t>
            </a:r>
            <a:endParaRPr lang="de-DE" kern="0" dirty="0">
              <a:solidFill>
                <a:sysClr val="windowText" lastClr="000000"/>
              </a:solidFill>
            </a:endParaRPr>
          </a:p>
        </p:txBody>
      </p:sp>
      <p:sp>
        <p:nvSpPr>
          <p:cNvPr id="220" name="TextBox 219"/>
          <p:cNvSpPr txBox="1"/>
          <p:nvPr/>
        </p:nvSpPr>
        <p:spPr>
          <a:xfrm>
            <a:off x="200340" y="260560"/>
            <a:ext cx="8172450" cy="400110"/>
          </a:xfrm>
          <a:prstGeom prst="rect">
            <a:avLst/>
          </a:prstGeom>
          <a:noFill/>
        </p:spPr>
        <p:txBody>
          <a:bodyPr wrap="square" rtlCol="0">
            <a:spAutoFit/>
          </a:bodyPr>
          <a:lstStyle/>
          <a:p>
            <a:r>
              <a:rPr lang="en-US" sz="2000" b="1" dirty="0" smtClean="0"/>
              <a:t>Roll out markets</a:t>
            </a:r>
            <a:endParaRPr lang="en-US" sz="2000" b="1" dirty="0"/>
          </a:p>
        </p:txBody>
      </p:sp>
      <p:sp>
        <p:nvSpPr>
          <p:cNvPr id="189" name="Oval Callout 188"/>
          <p:cNvSpPr/>
          <p:nvPr/>
        </p:nvSpPr>
        <p:spPr>
          <a:xfrm>
            <a:off x="3728830" y="2132820"/>
            <a:ext cx="1008140" cy="216030"/>
          </a:xfrm>
          <a:prstGeom prst="wedgeEllipseCallout">
            <a:avLst>
              <a:gd name="adj1" fmla="val 7885"/>
              <a:gd name="adj2" fmla="val 270096"/>
            </a:avLst>
          </a:prstGeom>
          <a:solidFill>
            <a:srgbClr val="00B05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714375" fontAlgn="base">
              <a:lnSpc>
                <a:spcPct val="90000"/>
              </a:lnSpc>
              <a:buClr>
                <a:schemeClr val="tx2"/>
              </a:buClr>
            </a:pPr>
            <a:r>
              <a:rPr lang="en-US" sz="1000" b="1" dirty="0" smtClean="0">
                <a:solidFill>
                  <a:schemeClr val="bg1"/>
                </a:solidFill>
              </a:rPr>
              <a:t>Belgium</a:t>
            </a:r>
            <a:endParaRPr lang="en-US" sz="1000" dirty="0" smtClean="0">
              <a:solidFill>
                <a:schemeClr val="bg1"/>
              </a:solidFill>
              <a:latin typeface="Arial" charset="0"/>
            </a:endParaRPr>
          </a:p>
        </p:txBody>
      </p:sp>
      <p:sp>
        <p:nvSpPr>
          <p:cNvPr id="190" name="Oval Callout 189"/>
          <p:cNvSpPr/>
          <p:nvPr/>
        </p:nvSpPr>
        <p:spPr>
          <a:xfrm>
            <a:off x="3080740" y="3068950"/>
            <a:ext cx="936130" cy="216030"/>
          </a:xfrm>
          <a:prstGeom prst="wedgeEllipseCallout">
            <a:avLst>
              <a:gd name="adj1" fmla="val 61565"/>
              <a:gd name="adj2" fmla="val -96228"/>
            </a:avLst>
          </a:prstGeom>
          <a:solidFill>
            <a:srgbClr val="00B05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714375" fontAlgn="base">
              <a:lnSpc>
                <a:spcPct val="90000"/>
              </a:lnSpc>
              <a:buClr>
                <a:schemeClr val="tx2"/>
              </a:buClr>
            </a:pPr>
            <a:r>
              <a:rPr lang="en-US" sz="1000" b="1" dirty="0" smtClean="0">
                <a:solidFill>
                  <a:schemeClr val="bg1"/>
                </a:solidFill>
              </a:rPr>
              <a:t>France</a:t>
            </a:r>
            <a:endParaRPr lang="en-US" sz="1000" dirty="0" smtClean="0">
              <a:solidFill>
                <a:schemeClr val="bg1"/>
              </a:solidFill>
              <a:latin typeface="Arial" charset="0"/>
            </a:endParaRPr>
          </a:p>
        </p:txBody>
      </p:sp>
      <p:sp>
        <p:nvSpPr>
          <p:cNvPr id="195" name="Freeform 149"/>
          <p:cNvSpPr>
            <a:spLocks noChangeAspect="1"/>
          </p:cNvSpPr>
          <p:nvPr/>
        </p:nvSpPr>
        <p:spPr bwMode="gray">
          <a:xfrm>
            <a:off x="2648680" y="4365130"/>
            <a:ext cx="96837" cy="66675"/>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96" name="Freeform 149"/>
          <p:cNvSpPr>
            <a:spLocks noChangeAspect="1"/>
          </p:cNvSpPr>
          <p:nvPr/>
        </p:nvSpPr>
        <p:spPr bwMode="gray">
          <a:xfrm>
            <a:off x="2660585" y="4314549"/>
            <a:ext cx="96837" cy="66675"/>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97" name="Freeform 149"/>
          <p:cNvSpPr>
            <a:spLocks noChangeAspect="1"/>
          </p:cNvSpPr>
          <p:nvPr/>
        </p:nvSpPr>
        <p:spPr bwMode="gray">
          <a:xfrm>
            <a:off x="2653442" y="4341893"/>
            <a:ext cx="96837" cy="66675"/>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98" name="Freeform 32"/>
          <p:cNvSpPr>
            <a:spLocks noChangeAspect="1"/>
          </p:cNvSpPr>
          <p:nvPr/>
        </p:nvSpPr>
        <p:spPr bwMode="gray">
          <a:xfrm>
            <a:off x="2696300" y="4305025"/>
            <a:ext cx="77788" cy="142875"/>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199" name="Freeform 32"/>
          <p:cNvSpPr>
            <a:spLocks noChangeAspect="1"/>
          </p:cNvSpPr>
          <p:nvPr/>
        </p:nvSpPr>
        <p:spPr bwMode="gray">
          <a:xfrm>
            <a:off x="2655823" y="4302644"/>
            <a:ext cx="77788" cy="142875"/>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00" name="Freeform 32"/>
          <p:cNvSpPr>
            <a:spLocks noChangeAspect="1"/>
          </p:cNvSpPr>
          <p:nvPr/>
        </p:nvSpPr>
        <p:spPr bwMode="gray">
          <a:xfrm>
            <a:off x="4371142" y="3068950"/>
            <a:ext cx="77788" cy="142875"/>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solidFill>
            <a:srgbClr val="C1C1C1"/>
          </a:solidFill>
          <a:ln w="9525">
            <a:noFill/>
            <a:round/>
            <a:headEnd/>
            <a:tailEnd/>
          </a:ln>
        </p:spPr>
        <p:txBody>
          <a:bodyPr/>
          <a:lstStyle/>
          <a:p>
            <a:pPr fontAlgn="auto">
              <a:spcBef>
                <a:spcPts val="0"/>
              </a:spcBef>
              <a:spcAft>
                <a:spcPts val="0"/>
              </a:spcAft>
              <a:defRPr/>
            </a:pPr>
            <a:endParaRPr lang="en-US" kern="0">
              <a:solidFill>
                <a:sysClr val="windowText" lastClr="000000"/>
              </a:solidFill>
            </a:endParaRPr>
          </a:p>
        </p:txBody>
      </p:sp>
      <p:sp>
        <p:nvSpPr>
          <p:cNvPr id="203" name="Oval Callout 202"/>
          <p:cNvSpPr/>
          <p:nvPr/>
        </p:nvSpPr>
        <p:spPr>
          <a:xfrm>
            <a:off x="3584810" y="2420860"/>
            <a:ext cx="576080" cy="207650"/>
          </a:xfrm>
          <a:prstGeom prst="wedgeEllipseCallout">
            <a:avLst>
              <a:gd name="adj1" fmla="val 16065"/>
              <a:gd name="adj2" fmla="val 90334"/>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714375" fontAlgn="base">
              <a:lnSpc>
                <a:spcPct val="90000"/>
              </a:lnSpc>
              <a:buClr>
                <a:schemeClr val="tx2"/>
              </a:buClr>
            </a:pPr>
            <a:r>
              <a:rPr lang="en-US" sz="1000" b="1" dirty="0" smtClean="0">
                <a:solidFill>
                  <a:schemeClr val="tx1"/>
                </a:solidFill>
              </a:rPr>
              <a:t>UK</a:t>
            </a:r>
            <a:endParaRPr lang="en-US" sz="1000" dirty="0" smtClean="0">
              <a:solidFill>
                <a:schemeClr val="tx1"/>
              </a:solidFill>
              <a:latin typeface="Arial" charset="0"/>
            </a:endParaRPr>
          </a:p>
        </p:txBody>
      </p:sp>
      <p:sp>
        <p:nvSpPr>
          <p:cNvPr id="204" name="Oval Callout 203"/>
          <p:cNvSpPr/>
          <p:nvPr/>
        </p:nvSpPr>
        <p:spPr>
          <a:xfrm>
            <a:off x="6321190" y="2636890"/>
            <a:ext cx="864120" cy="216030"/>
          </a:xfrm>
          <a:prstGeom prst="wedgeEllipseCallout">
            <a:avLst>
              <a:gd name="adj1" fmla="val -25878"/>
              <a:gd name="adj2" fmla="val 207264"/>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714375" fontAlgn="base">
              <a:lnSpc>
                <a:spcPct val="90000"/>
              </a:lnSpc>
              <a:buClr>
                <a:schemeClr val="tx2"/>
              </a:buClr>
            </a:pPr>
            <a:r>
              <a:rPr lang="en-US" sz="1000" b="1" dirty="0" smtClean="0">
                <a:solidFill>
                  <a:schemeClr val="tx1"/>
                </a:solidFill>
              </a:rPr>
              <a:t>China</a:t>
            </a:r>
            <a:endParaRPr lang="en-US" sz="1000" dirty="0" smtClean="0">
              <a:solidFill>
                <a:schemeClr val="tx1"/>
              </a:solidFill>
              <a:latin typeface="Arial" charset="0"/>
            </a:endParaRPr>
          </a:p>
        </p:txBody>
      </p:sp>
      <p:sp>
        <p:nvSpPr>
          <p:cNvPr id="205" name="Oval Callout 204"/>
          <p:cNvSpPr/>
          <p:nvPr/>
        </p:nvSpPr>
        <p:spPr>
          <a:xfrm>
            <a:off x="2720690" y="4077090"/>
            <a:ext cx="864120" cy="216030"/>
          </a:xfrm>
          <a:prstGeom prst="wedgeEllipseCallout">
            <a:avLst>
              <a:gd name="adj1" fmla="val -25878"/>
              <a:gd name="adj2" fmla="val 207264"/>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714375" fontAlgn="base">
              <a:lnSpc>
                <a:spcPct val="90000"/>
              </a:lnSpc>
              <a:buClr>
                <a:schemeClr val="tx2"/>
              </a:buClr>
            </a:pPr>
            <a:r>
              <a:rPr lang="en-US" sz="1000" b="1" dirty="0" smtClean="0">
                <a:solidFill>
                  <a:schemeClr val="tx1"/>
                </a:solidFill>
              </a:rPr>
              <a:t>Brazil</a:t>
            </a:r>
            <a:endParaRPr lang="en-US" sz="1000" dirty="0" smtClean="0">
              <a:solidFill>
                <a:schemeClr val="tx1"/>
              </a:solidFill>
              <a:latin typeface="Arial" charset="0"/>
            </a:endParaRPr>
          </a:p>
        </p:txBody>
      </p:sp>
      <p:sp>
        <p:nvSpPr>
          <p:cNvPr id="206" name="Oval Callout 205"/>
          <p:cNvSpPr/>
          <p:nvPr/>
        </p:nvSpPr>
        <p:spPr>
          <a:xfrm>
            <a:off x="4520940" y="2420860"/>
            <a:ext cx="1152160" cy="216030"/>
          </a:xfrm>
          <a:prstGeom prst="wedgeEllipseCallout">
            <a:avLst>
              <a:gd name="adj1" fmla="val -55640"/>
              <a:gd name="adj2" fmla="val 116877"/>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714375" fontAlgn="base">
              <a:lnSpc>
                <a:spcPct val="90000"/>
              </a:lnSpc>
              <a:buClr>
                <a:schemeClr val="tx2"/>
              </a:buClr>
            </a:pPr>
            <a:r>
              <a:rPr lang="en-US" sz="1000" b="1" dirty="0" smtClean="0">
                <a:solidFill>
                  <a:schemeClr val="tx1"/>
                </a:solidFill>
              </a:rPr>
              <a:t>Germany</a:t>
            </a:r>
            <a:endParaRPr lang="en-US" sz="1000" dirty="0" smtClean="0">
              <a:solidFill>
                <a:schemeClr val="tx1"/>
              </a:solidFill>
              <a:latin typeface="Arial" charset="0"/>
            </a:endParaRPr>
          </a:p>
        </p:txBody>
      </p:sp>
      <p:sp>
        <p:nvSpPr>
          <p:cNvPr id="207" name="Rectangle 191"/>
          <p:cNvSpPr>
            <a:spLocks noChangeArrowheads="1"/>
          </p:cNvSpPr>
          <p:nvPr/>
        </p:nvSpPr>
        <p:spPr bwMode="auto">
          <a:xfrm>
            <a:off x="3224760" y="5517290"/>
            <a:ext cx="714375" cy="173038"/>
          </a:xfrm>
          <a:prstGeom prst="rect">
            <a:avLst/>
          </a:prstGeom>
          <a:solidFill>
            <a:srgbClr val="00B050"/>
          </a:solidFill>
          <a:ln>
            <a:solidFill>
              <a:srgbClr val="00B050"/>
            </a:solidFill>
          </a:ln>
          <a:effectLst/>
          <a:extLst>
            <a:ext uri="{91240B29-F687-4F45-9708-019B960494DF}">
              <a14:hiddenLine xmlns:a14="http://schemas.microsoft.com/office/drawing/2010/main" xmlns="" w="9525" algn="ctr">
                <a:solidFill>
                  <a:srgbClr val="9F000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fontAlgn="auto">
              <a:spcBef>
                <a:spcPts val="0"/>
              </a:spcBef>
              <a:spcAft>
                <a:spcPts val="0"/>
              </a:spcAft>
              <a:defRPr/>
            </a:pPr>
            <a:endParaRPr lang="en-US" kern="0">
              <a:solidFill>
                <a:sysClr val="windowText" lastClr="000000"/>
              </a:solidFill>
            </a:endParaRPr>
          </a:p>
        </p:txBody>
      </p:sp>
      <p:sp>
        <p:nvSpPr>
          <p:cNvPr id="208" name="Rectangle 191"/>
          <p:cNvSpPr>
            <a:spLocks noChangeArrowheads="1"/>
          </p:cNvSpPr>
          <p:nvPr/>
        </p:nvSpPr>
        <p:spPr bwMode="auto">
          <a:xfrm>
            <a:off x="3224760" y="5805330"/>
            <a:ext cx="714375" cy="173038"/>
          </a:xfrm>
          <a:prstGeom prst="rect">
            <a:avLst/>
          </a:prstGeom>
          <a:solidFill>
            <a:srgbClr val="FFC000"/>
          </a:solidFill>
          <a:ln>
            <a:solidFill>
              <a:srgbClr val="FFFF00"/>
            </a:solidFill>
          </a:ln>
          <a:effectLst/>
          <a:extLst>
            <a:ext uri="{91240B29-F687-4F45-9708-019B960494DF}">
              <a14:hiddenLine xmlns:a14="http://schemas.microsoft.com/office/drawing/2010/main" xmlns="" w="9525" algn="ctr">
                <a:solidFill>
                  <a:srgbClr val="9F000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8000" tIns="36000" rIns="54000" bIns="36000" anchor="ctr">
            <a:spAutoFit/>
          </a:bodyPr>
          <a:lstStyle/>
          <a:p>
            <a:pPr fontAlgn="auto">
              <a:spcBef>
                <a:spcPts val="0"/>
              </a:spcBef>
              <a:spcAft>
                <a:spcPts val="0"/>
              </a:spcAft>
              <a:defRPr/>
            </a:pPr>
            <a:endParaRPr lang="en-US" kern="0">
              <a:solidFill>
                <a:sysClr val="windowText" lastClr="000000"/>
              </a:solidFill>
            </a:endParaRPr>
          </a:p>
        </p:txBody>
      </p:sp>
      <p:sp>
        <p:nvSpPr>
          <p:cNvPr id="209" name="Text Box 190"/>
          <p:cNvSpPr txBox="1">
            <a:spLocks noChangeArrowheads="1"/>
          </p:cNvSpPr>
          <p:nvPr/>
        </p:nvSpPr>
        <p:spPr bwMode="auto">
          <a:xfrm>
            <a:off x="4016870" y="5445280"/>
            <a:ext cx="1457698" cy="365091"/>
          </a:xfrm>
          <a:prstGeom prst="rect">
            <a:avLst/>
          </a:prstGeom>
          <a:noFill/>
          <a:ln>
            <a:noFill/>
          </a:ln>
          <a:effectLst/>
          <a:extLst>
            <a:ext uri="{909E8E84-426E-40DD-AFC4-6F175D3DCCD1}">
              <a14:hiddenFill xmlns:a14="http://schemas.microsoft.com/office/drawing/2010/main" xmlns="">
                <a:solidFill>
                  <a:schemeClr val="bg2"/>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8000" tIns="36000" rIns="54000" bIns="36000">
            <a:spAutoFit/>
          </a:bodyPr>
          <a:lstStyle/>
          <a:p>
            <a:pPr fontAlgn="auto">
              <a:spcBef>
                <a:spcPts val="0"/>
              </a:spcBef>
              <a:spcAft>
                <a:spcPts val="0"/>
              </a:spcAft>
              <a:defRPr/>
            </a:pPr>
            <a:r>
              <a:rPr lang="de-DE" kern="0" dirty="0" smtClean="0">
                <a:solidFill>
                  <a:sysClr val="windowText" lastClr="000000"/>
                </a:solidFill>
              </a:rPr>
              <a:t>Live markets</a:t>
            </a:r>
            <a:endParaRPr lang="de-DE" kern="0" dirty="0">
              <a:solidFill>
                <a:sysClr val="windowText" lastClr="000000"/>
              </a:solidFill>
            </a:endParaRPr>
          </a:p>
        </p:txBody>
      </p:sp>
      <p:sp>
        <p:nvSpPr>
          <p:cNvPr id="210" name="Rectangle 209"/>
          <p:cNvSpPr/>
          <p:nvPr/>
        </p:nvSpPr>
        <p:spPr>
          <a:xfrm>
            <a:off x="3152750" y="5445280"/>
            <a:ext cx="2736380" cy="86412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Service contract variants	</a:t>
            </a:r>
            <a:endParaRPr lang="en-US" sz="2000" b="1" dirty="0"/>
          </a:p>
        </p:txBody>
      </p:sp>
      <p:sp>
        <p:nvSpPr>
          <p:cNvPr id="3" name="Content Placeholder 2"/>
          <p:cNvSpPr>
            <a:spLocks noGrp="1"/>
          </p:cNvSpPr>
          <p:nvPr>
            <p:ph idx="1"/>
          </p:nvPr>
        </p:nvSpPr>
        <p:spPr/>
        <p:txBody>
          <a:bodyPr/>
          <a:lstStyle/>
          <a:p>
            <a:endParaRPr lang="en-US" dirty="0"/>
          </a:p>
        </p:txBody>
      </p:sp>
      <p:sp>
        <p:nvSpPr>
          <p:cNvPr id="4" name="Date Placeholder 3"/>
          <p:cNvSpPr>
            <a:spLocks noGrp="1"/>
          </p:cNvSpPr>
          <p:nvPr>
            <p:ph type="dt" sz="half" idx="10"/>
          </p:nvPr>
        </p:nvSpPr>
        <p:spPr/>
        <p:txBody>
          <a:bodyPr/>
          <a:lstStyle/>
          <a:p>
            <a:fld id="{6F0CE7E8-F416-41C2-A85F-CB0704802DBA}" type="datetime1">
              <a:rPr lang="en-US" smtClean="0"/>
              <a:pPr/>
              <a:t>1/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B0DA3F-1170-4793-871F-540ADC894E9D}" type="slidenum">
              <a:rPr lang="en-US" smtClean="0"/>
              <a:pPr/>
              <a:t>9</a:t>
            </a:fld>
            <a:endParaRPr lang="en-US"/>
          </a:p>
        </p:txBody>
      </p:sp>
      <p:grpSp>
        <p:nvGrpSpPr>
          <p:cNvPr id="7" name="Group 26"/>
          <p:cNvGrpSpPr>
            <a:grpSpLocks/>
          </p:cNvGrpSpPr>
          <p:nvPr/>
        </p:nvGrpSpPr>
        <p:grpSpPr bwMode="auto">
          <a:xfrm>
            <a:off x="416370" y="1844780"/>
            <a:ext cx="1349375" cy="593725"/>
            <a:chOff x="4226" y="2212"/>
            <a:chExt cx="850" cy="374"/>
          </a:xfrm>
        </p:grpSpPr>
        <p:pic>
          <p:nvPicPr>
            <p:cNvPr id="8" name="Picture 15"/>
            <p:cNvPicPr>
              <a:picLocks noChangeAspect="1" noChangeArrowheads="1"/>
            </p:cNvPicPr>
            <p:nvPr/>
          </p:nvPicPr>
          <p:blipFill>
            <a:blip r:embed="rId2" cstate="print">
              <a:extLst>
                <a:ext uri="{28A0092B-C50C-407E-A947-70E740481C1C}">
                  <a14:useLocalDpi xmlns:a14="http://schemas.microsoft.com/office/drawing/2010/main" xmlns="" val="0"/>
                </a:ext>
              </a:extLst>
            </a:blip>
            <a:srcRect l="33009" t="8963" r="55963" b="84209"/>
            <a:stretch>
              <a:fillRect/>
            </a:stretch>
          </p:blipFill>
          <p:spPr bwMode="auto">
            <a:xfrm>
              <a:off x="4611" y="2363"/>
              <a:ext cx="465" cy="19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9" name="Picture 9"/>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226" y="2212"/>
              <a:ext cx="379" cy="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10" name="Rectangle 6"/>
          <p:cNvSpPr>
            <a:spLocks noChangeArrowheads="1"/>
          </p:cNvSpPr>
          <p:nvPr/>
        </p:nvSpPr>
        <p:spPr bwMode="auto">
          <a:xfrm>
            <a:off x="2864710" y="2086069"/>
            <a:ext cx="6319838" cy="30777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spAutoFit/>
          </a:bodyPr>
          <a:lstStyle/>
          <a:p>
            <a:r>
              <a:rPr lang="de-DE" altLang="ja-JP" sz="1400" dirty="0" smtClean="0">
                <a:ea typeface="MS PGothic" pitchFamily="34" charset="-128"/>
              </a:rPr>
              <a:t>For the </a:t>
            </a:r>
            <a:r>
              <a:rPr lang="en-US" altLang="ja-JP" sz="1400" dirty="0">
                <a:ea typeface="MS PGothic" pitchFamily="34" charset="-128"/>
              </a:rPr>
              <a:t>security oriented and price-conscious </a:t>
            </a:r>
            <a:r>
              <a:rPr lang="en-US" altLang="ja-JP" sz="1400" dirty="0" smtClean="0">
                <a:ea typeface="MS PGothic" pitchFamily="34" charset="-128"/>
              </a:rPr>
              <a:t>customers</a:t>
            </a:r>
            <a:endParaRPr lang="de-DE" altLang="ja-JP" sz="1400" b="1" dirty="0">
              <a:ea typeface="MS PGothic" pitchFamily="34" charset="-128"/>
            </a:endParaRPr>
          </a:p>
        </p:txBody>
      </p:sp>
      <p:sp>
        <p:nvSpPr>
          <p:cNvPr id="11" name="Rectangle 7"/>
          <p:cNvSpPr>
            <a:spLocks noChangeArrowheads="1"/>
          </p:cNvSpPr>
          <p:nvPr/>
        </p:nvSpPr>
        <p:spPr bwMode="auto">
          <a:xfrm>
            <a:off x="2720690" y="3560075"/>
            <a:ext cx="6319837" cy="52322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spAutoFit/>
          </a:bodyPr>
          <a:lstStyle/>
          <a:p>
            <a:r>
              <a:rPr lang="en-US" altLang="ja-JP" sz="1400" dirty="0">
                <a:ea typeface="MS PGothic" pitchFamily="34" charset="-128"/>
              </a:rPr>
              <a:t>The maintenance contract is for customers with a focus on cost transparency and </a:t>
            </a:r>
            <a:r>
              <a:rPr lang="en-US" altLang="ja-JP" sz="1400" dirty="0" smtClean="0">
                <a:ea typeface="MS PGothic" pitchFamily="34" charset="-128"/>
              </a:rPr>
              <a:t>predictability</a:t>
            </a:r>
            <a:endParaRPr lang="de-DE" altLang="ja-JP" dirty="0">
              <a:latin typeface="CorpoS" pitchFamily="2" charset="0"/>
              <a:ea typeface="MS PGothic" pitchFamily="34" charset="-128"/>
            </a:endParaRPr>
          </a:p>
        </p:txBody>
      </p:sp>
      <p:sp>
        <p:nvSpPr>
          <p:cNvPr id="12" name="Rectangle 8"/>
          <p:cNvSpPr>
            <a:spLocks noChangeArrowheads="1"/>
          </p:cNvSpPr>
          <p:nvPr/>
        </p:nvSpPr>
        <p:spPr bwMode="auto">
          <a:xfrm>
            <a:off x="2720690" y="5290806"/>
            <a:ext cx="6319838" cy="52322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spAutoFit/>
          </a:bodyPr>
          <a:lstStyle/>
          <a:p>
            <a:r>
              <a:rPr lang="en-US" altLang="ja-JP" sz="1400" dirty="0">
                <a:ea typeface="MS PGothic" pitchFamily="34" charset="-128"/>
              </a:rPr>
              <a:t>The Service Contract option "all inclusive package" include all maintenance, repairs,  wear and </a:t>
            </a:r>
            <a:r>
              <a:rPr lang="en-US" altLang="ja-JP" sz="1400" dirty="0" smtClean="0">
                <a:ea typeface="MS PGothic" pitchFamily="34" charset="-128"/>
              </a:rPr>
              <a:t>tear </a:t>
            </a:r>
            <a:r>
              <a:rPr lang="en-US" altLang="ja-JP" sz="1400" dirty="0">
                <a:ea typeface="MS PGothic" pitchFamily="34" charset="-128"/>
              </a:rPr>
              <a:t>during the agreed </a:t>
            </a:r>
            <a:r>
              <a:rPr lang="en-US" altLang="ja-JP" sz="1400" dirty="0" smtClean="0">
                <a:ea typeface="MS PGothic" pitchFamily="34" charset="-128"/>
              </a:rPr>
              <a:t>term</a:t>
            </a:r>
            <a:endParaRPr lang="en-US" altLang="ja-JP" sz="1400" dirty="0">
              <a:ea typeface="MS PGothic" pitchFamily="34" charset="-128"/>
            </a:endParaRPr>
          </a:p>
        </p:txBody>
      </p:sp>
      <p:grpSp>
        <p:nvGrpSpPr>
          <p:cNvPr id="16" name="Group 27"/>
          <p:cNvGrpSpPr>
            <a:grpSpLocks/>
          </p:cNvGrpSpPr>
          <p:nvPr/>
        </p:nvGrpSpPr>
        <p:grpSpPr bwMode="auto">
          <a:xfrm>
            <a:off x="488380" y="5157240"/>
            <a:ext cx="1382712" cy="593725"/>
            <a:chOff x="4229" y="3154"/>
            <a:chExt cx="871" cy="374"/>
          </a:xfrm>
        </p:grpSpPr>
        <p:pic>
          <p:nvPicPr>
            <p:cNvPr id="17" name="Picture 16"/>
            <p:cNvPicPr>
              <a:picLocks noChangeAspect="1" noChangeArrowheads="1"/>
            </p:cNvPicPr>
            <p:nvPr/>
          </p:nvPicPr>
          <p:blipFill>
            <a:blip r:embed="rId4" cstate="print">
              <a:extLst>
                <a:ext uri="{28A0092B-C50C-407E-A947-70E740481C1C}">
                  <a14:useLocalDpi xmlns:a14="http://schemas.microsoft.com/office/drawing/2010/main" xmlns="" val="0"/>
                </a:ext>
              </a:extLst>
            </a:blip>
            <a:srcRect l="33191" t="10225" r="55406" b="83368"/>
            <a:stretch>
              <a:fillRect/>
            </a:stretch>
          </p:blipFill>
          <p:spPr bwMode="auto">
            <a:xfrm>
              <a:off x="4619" y="3323"/>
              <a:ext cx="481" cy="18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8" name="Picture 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229" y="3154"/>
              <a:ext cx="392" cy="3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pic>
      </p:grpSp>
      <p:grpSp>
        <p:nvGrpSpPr>
          <p:cNvPr id="19" name="Group 25"/>
          <p:cNvGrpSpPr>
            <a:grpSpLocks/>
          </p:cNvGrpSpPr>
          <p:nvPr/>
        </p:nvGrpSpPr>
        <p:grpSpPr bwMode="auto">
          <a:xfrm>
            <a:off x="416370" y="3356990"/>
            <a:ext cx="1363662" cy="592138"/>
            <a:chOff x="4229" y="2664"/>
            <a:chExt cx="859" cy="373"/>
          </a:xfrm>
        </p:grpSpPr>
        <p:pic>
          <p:nvPicPr>
            <p:cNvPr id="20" name="Picture 17"/>
            <p:cNvPicPr>
              <a:picLocks noChangeAspect="1" noChangeArrowheads="1"/>
            </p:cNvPicPr>
            <p:nvPr/>
          </p:nvPicPr>
          <p:blipFill>
            <a:blip r:embed="rId6" cstate="print">
              <a:extLst>
                <a:ext uri="{28A0092B-C50C-407E-A947-70E740481C1C}">
                  <a14:useLocalDpi xmlns:a14="http://schemas.microsoft.com/office/drawing/2010/main" xmlns="" val="0"/>
                </a:ext>
              </a:extLst>
            </a:blip>
            <a:srcRect l="33855" t="10680" r="54932" b="82808"/>
            <a:stretch>
              <a:fillRect/>
            </a:stretch>
          </p:blipFill>
          <p:spPr bwMode="auto">
            <a:xfrm>
              <a:off x="4615" y="2843"/>
              <a:ext cx="473" cy="18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21" name="Picture 10"/>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229" y="2664"/>
              <a:ext cx="376" cy="3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cswwL3EpUiDHWZ27yivO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cswwL3EpUiDHWZ27yiv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cswwL3EpUiDHWZ27yiv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cswwL3EpUiDHWZ27yiv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AejeR8D8E.1JO0kI94n_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39ouFujwf0qJloSrRun_6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O26XfM.2kqyj5ZbikEa8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6KMGAXEUefrmU84WkV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mbZ10lKtUG8r5jJyNFOc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ppUZLq5JUG_Omkug.t6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nOf.aGVER0G82mJ0tLI8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wABsDsji0WBjzh02SV3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fFFQW2tE0O92np4Gtj.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1mbZ10lKtUG8r5jJyNFO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qF_Ot3.pRUWqbYxoLZ4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IhWcEb9XkSzqwbz6GANA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tUW89qQY0WnoSQrm9iLM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lgbOP.48kqVb1acXC0B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1mbZ10lKtUG8r5jJyNFO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TxBoUnDQkOVIiF9YVTr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OKoCVtN10yKqetPlB5Y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CS2HnsSHUux9oPK44Ka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O97pj6pzEqAF5Lj0Ac86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09Okp4SXEW7.VQOpYvzq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tdEnB2qkqySx9XJbqn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3F0GWE4iMUe7pfwEw6V7n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CM04q._i0qAfSmQp4_Jm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ItNWMwdIUajx9QtU8KIJ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btcPXVWJ0a.N6hVWi8Ws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meuCsbOp0SkxrAoMI9z8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1mbZ10lKtUG8r5jJyNFOc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GDlJzxAakS_AowibxTT4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jRJvrNR5UOZvvPilD9UP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kMUyepp6kK7a3dCsDMB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pGoIhSzLkqbggFw_TTp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AejeR8D8E.1JO0kI94n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Y2g5f1o0U2JR8cjOl3B3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TFw4t7BY0Wtby5aMToF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8_O.r_7AUOVQchos59X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4m4_1mk9kCYeVTP3wsL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mdFb2GhQkqiWRj5wqCC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WtIfOLwr0yiIZRRr_o6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WiyG9PBWUKZASNSeEY97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qQPbsBMYkeSh2ykm5M8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ZZLyrYf_kyDWUrmdocz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P8bIjm9Vkyjw59Tnjy4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4FnjzyxXS0CkekSYAAHT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wYIGUffcU2apHm3NRt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yz.CHy1qEe3flewrDxK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rfy6i7kOUKqTDhMfxSYG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4qwNVR8Qka83N3TcSmS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_nJo0RgfkeAMUBtRUGQ9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unYWXPN70CEITW496c2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fOAtbqxKkyY7Vq9Wx4Q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1CXrlia5UW4U6G0t1BP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gFal.AOAEmbX9uRkkvB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OEo_kthTUmVNXeZOljJ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bcZe8_qi0e_lZzQHgM4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G31G.dlI0icqyS6G2_G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Mv3nt6Z9U22uC503Sf6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X3k0161tkm.AeOGog2.V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7ce9dpKLJkSf03Ce9ilH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AETMztEPku1Qwah5cWf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lHZCIkstki8cNKIzsHo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f1I6KoaJEuNuICrCFSX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xIfd5wQQ0K6b09nzWzoJ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1COgPTKlYUm2WzFUMlVS3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2g5yQ1DEESMqCwGAlu1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9WAoobtRkW55v_gt.z4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ZsauAsLck.SmTaMosMSx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uqDSQ9E0qZ5ZDFQuV2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D_dNsjOkkSyl0XI4ON5r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cswwL3EpUiDHWZ27yiv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cswwL3EpUiDHWZ27yivOw"/>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114</TotalTime>
  <Words>905</Words>
  <Application>Microsoft Office PowerPoint</Application>
  <PresentationFormat>A4 Paper (210x297 mm)</PresentationFormat>
  <Paragraphs>311</Paragraphs>
  <Slides>27</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1" baseType="lpstr">
      <vt:lpstr>Blank</vt:lpstr>
      <vt:lpstr>Closing slides</vt:lpstr>
      <vt:lpstr>Section break</vt:lpstr>
      <vt:lpstr>think-cell Slide</vt:lpstr>
      <vt:lpstr>Project iCON System walkthrough</vt:lpstr>
      <vt:lpstr>Slide 2</vt:lpstr>
      <vt:lpstr>What is iCON</vt:lpstr>
      <vt:lpstr>Lines of Business</vt:lpstr>
      <vt:lpstr>TP coverages</vt:lpstr>
      <vt:lpstr>Business entities</vt:lpstr>
      <vt:lpstr>Business use case</vt:lpstr>
      <vt:lpstr>Slide 8</vt:lpstr>
      <vt:lpstr>Service contract variants </vt:lpstr>
      <vt:lpstr>System integration</vt:lpstr>
      <vt:lpstr>Slide 11</vt:lpstr>
      <vt:lpstr>Slide 12</vt:lpstr>
      <vt:lpstr>Slide 13</vt:lpstr>
      <vt:lpstr>Interaction with disparate systems</vt:lpstr>
      <vt:lpstr>AQUA</vt:lpstr>
      <vt:lpstr>POS</vt:lpstr>
      <vt:lpstr>Master data </vt:lpstr>
      <vt:lpstr>Financial systems</vt:lpstr>
      <vt:lpstr>Slide 19</vt:lpstr>
      <vt:lpstr>Slide 20</vt:lpstr>
      <vt:lpstr>Application delivery </vt:lpstr>
      <vt:lpstr>Development &amp; Testing environments</vt:lpstr>
      <vt:lpstr>Entity Relationship for server architecture</vt:lpstr>
      <vt:lpstr>Slide 24</vt:lpstr>
      <vt:lpstr>Slide 25</vt:lpstr>
      <vt:lpstr>Slide 26</vt:lpstr>
      <vt:lpstr>Slide 2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ion</dc:title>
  <dc:creator>Christian Hiesinger</dc:creator>
  <cp:lastModifiedBy>rvangury</cp:lastModifiedBy>
  <cp:revision>413</cp:revision>
  <dcterms:created xsi:type="dcterms:W3CDTF">2013-10-22T05:24:06Z</dcterms:created>
  <dcterms:modified xsi:type="dcterms:W3CDTF">2018-01-22T10:28:08Z</dcterms:modified>
</cp:coreProperties>
</file>